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32.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tags/tag33.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tags/tag34.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5.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6.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7.xml" ContentType="application/vnd.openxmlformats-officedocument.presentationml.tags+xml"/>
  <Override PartName="/ppt/charts/chart19.xml" ContentType="application/vnd.openxmlformats-officedocument.drawingml.chart+xml"/>
  <Override PartName="/ppt/tags/tag38.xml" ContentType="application/vnd.openxmlformats-officedocument.presentationml.tags+xml"/>
  <Override PartName="/ppt/charts/chart20.xml" ContentType="application/vnd.openxmlformats-officedocument.drawingml.chart+xml"/>
  <Override PartName="/ppt/tags/tag39.xml" ContentType="application/vnd.openxmlformats-officedocument.presentationml.tags+xml"/>
  <Override PartName="/ppt/charts/chart21.xml" ContentType="application/vnd.openxmlformats-officedocument.drawingml.chart+xml"/>
  <Override PartName="/ppt/tags/tag40.xml" ContentType="application/vnd.openxmlformats-officedocument.presentationml.tags+xml"/>
  <Override PartName="/ppt/charts/chart22.xml" ContentType="application/vnd.openxmlformats-officedocument.drawingml.chart+xml"/>
  <Override PartName="/ppt/tags/tag41.xml" ContentType="application/vnd.openxmlformats-officedocument.presentationml.tags+xml"/>
  <Override PartName="/ppt/charts/chart23.xml" ContentType="application/vnd.openxmlformats-officedocument.drawingml.chart+xml"/>
  <Override PartName="/ppt/tags/tag42.xml" ContentType="application/vnd.openxmlformats-officedocument.presentationml.tags+xml"/>
  <Override PartName="/ppt/charts/chart24.xml" ContentType="application/vnd.openxmlformats-officedocument.drawingml.chart+xml"/>
  <Override PartName="/ppt/tags/tag43.xml" ContentType="application/vnd.openxmlformats-officedocument.presentationml.tags+xml"/>
  <Override PartName="/ppt/charts/chart25.xml" ContentType="application/vnd.openxmlformats-officedocument.drawingml.chart+xml"/>
  <Override PartName="/ppt/tags/tag44.xml" ContentType="application/vnd.openxmlformats-officedocument.presentationml.tags+xml"/>
  <Override PartName="/ppt/charts/chart26.xml" ContentType="application/vnd.openxmlformats-officedocument.drawingml.chart+xml"/>
  <Override PartName="/ppt/tags/tag45.xml" ContentType="application/vnd.openxmlformats-officedocument.presentationml.tags+xml"/>
  <Override PartName="/ppt/charts/chart27.xml" ContentType="application/vnd.openxmlformats-officedocument.drawingml.chart+xml"/>
  <Override PartName="/ppt/tags/tag46.xml" ContentType="application/vnd.openxmlformats-officedocument.presentationml.tags+xml"/>
  <Override PartName="/ppt/charts/chart28.xml" ContentType="application/vnd.openxmlformats-officedocument.drawingml.chart+xml"/>
  <Override PartName="/ppt/tags/tag47.xml" ContentType="application/vnd.openxmlformats-officedocument.presentationml.tags+xml"/>
  <Override PartName="/ppt/charts/chart29.xml" ContentType="application/vnd.openxmlformats-officedocument.drawingml.chart+xml"/>
  <Override PartName="/ppt/tags/tag48.xml" ContentType="application/vnd.openxmlformats-officedocument.presentationml.tags+xml"/>
  <Override PartName="/ppt/charts/chart30.xml" ContentType="application/vnd.openxmlformats-officedocument.drawingml.chart+xml"/>
  <Override PartName="/ppt/tags/tag49.xml" ContentType="application/vnd.openxmlformats-officedocument.presentationml.tags+xml"/>
  <Override PartName="/ppt/charts/chart31.xml" ContentType="application/vnd.openxmlformats-officedocument.drawingml.chart+xml"/>
  <Override PartName="/ppt/tags/tag50.xml" ContentType="application/vnd.openxmlformats-officedocument.presentationml.tags+xml"/>
  <Override PartName="/ppt/charts/chart32.xml" ContentType="application/vnd.openxmlformats-officedocument.drawingml.chart+xml"/>
  <Override PartName="/ppt/tags/tag51.xml" ContentType="application/vnd.openxmlformats-officedocument.presentationml.tags+xml"/>
  <Override PartName="/ppt/charts/chart33.xml" ContentType="application/vnd.openxmlformats-officedocument.drawingml.chart+xml"/>
  <Override PartName="/ppt/tags/tag52.xml" ContentType="application/vnd.openxmlformats-officedocument.presentationml.tags+xml"/>
  <Override PartName="/ppt/charts/chart34.xml" ContentType="application/vnd.openxmlformats-officedocument.drawingml.chart+xml"/>
  <Override PartName="/ppt/tags/tag53.xml" ContentType="application/vnd.openxmlformats-officedocument.presentationml.tags+xml"/>
  <Override PartName="/ppt/charts/chart35.xml" ContentType="application/vnd.openxmlformats-officedocument.drawingml.chart+xml"/>
  <Override PartName="/ppt/tags/tag54.xml" ContentType="application/vnd.openxmlformats-officedocument.presentationml.tags+xml"/>
  <Override PartName="/ppt/charts/chart36.xml" ContentType="application/vnd.openxmlformats-officedocument.drawingml.chart+xml"/>
  <Override PartName="/ppt/tags/tag55.xml" ContentType="application/vnd.openxmlformats-officedocument.presentationml.tags+xml"/>
  <Override PartName="/ppt/charts/chart37.xml" ContentType="application/vnd.openxmlformats-officedocument.drawingml.chart+xml"/>
  <Override PartName="/ppt/tags/tag56.xml" ContentType="application/vnd.openxmlformats-officedocument.presentationml.tags+xml"/>
  <Override PartName="/ppt/charts/chart38.xml" ContentType="application/vnd.openxmlformats-officedocument.drawingml.chart+xml"/>
  <Override PartName="/ppt/tags/tag57.xml" ContentType="application/vnd.openxmlformats-officedocument.presentationml.tags+xml"/>
  <Override PartName="/ppt/charts/chart39.xml" ContentType="application/vnd.openxmlformats-officedocument.drawingml.chart+xml"/>
  <Override PartName="/ppt/tags/tag58.xml" ContentType="application/vnd.openxmlformats-officedocument.presentationml.tags+xml"/>
  <Override PartName="/ppt/charts/chart40.xml" ContentType="application/vnd.openxmlformats-officedocument.drawingml.chart+xml"/>
  <Override PartName="/ppt/tags/tag59.xml" ContentType="application/vnd.openxmlformats-officedocument.presentationml.tags+xml"/>
  <Override PartName="/ppt/charts/chart41.xml" ContentType="application/vnd.openxmlformats-officedocument.drawingml.chart+xml"/>
  <Override PartName="/ppt/tags/tag60.xml" ContentType="application/vnd.openxmlformats-officedocument.presentationml.tags+xml"/>
  <Override PartName="/ppt/charts/chart42.xml" ContentType="application/vnd.openxmlformats-officedocument.drawingml.chart+xml"/>
  <Override PartName="/ppt/tags/tag61.xml" ContentType="application/vnd.openxmlformats-officedocument.presentationml.tags+xml"/>
  <Override PartName="/ppt/charts/chart43.xml" ContentType="application/vnd.openxmlformats-officedocument.drawingml.chart+xml"/>
  <Override PartName="/ppt/tags/tag62.xml" ContentType="application/vnd.openxmlformats-officedocument.presentationml.tags+xml"/>
  <Override PartName="/ppt/charts/chart44.xml" ContentType="application/vnd.openxmlformats-officedocument.drawingml.chart+xml"/>
  <Override PartName="/ppt/tags/tag63.xml" ContentType="application/vnd.openxmlformats-officedocument.presentationml.tags+xml"/>
  <Override PartName="/ppt/charts/chart45.xml" ContentType="application/vnd.openxmlformats-officedocument.drawingml.chart+xml"/>
  <Override PartName="/ppt/tags/tag64.xml" ContentType="application/vnd.openxmlformats-officedocument.presentationml.tags+xml"/>
  <Override PartName="/ppt/charts/chart46.xml" ContentType="application/vnd.openxmlformats-officedocument.drawingml.chart+xml"/>
  <Override PartName="/ppt/tags/tag65.xml" ContentType="application/vnd.openxmlformats-officedocument.presentationml.tags+xml"/>
  <Override PartName="/ppt/charts/chart47.xml" ContentType="application/vnd.openxmlformats-officedocument.drawingml.chart+xml"/>
  <Override PartName="/ppt/tags/tag66.xml" ContentType="application/vnd.openxmlformats-officedocument.presentationml.tags+xml"/>
  <Override PartName="/ppt/charts/chart48.xml" ContentType="application/vnd.openxmlformats-officedocument.drawingml.chart+xml"/>
  <Override PartName="/ppt/tags/tag67.xml" ContentType="application/vnd.openxmlformats-officedocument.presentationml.tags+xml"/>
  <Override PartName="/ppt/notesSlides/notesSlide1.xml" ContentType="application/vnd.openxmlformats-officedocument.presentationml.notesSlide+xml"/>
  <Override PartName="/ppt/tags/tag68.xml" ContentType="application/vnd.openxmlformats-officedocument.presentationml.tags+xml"/>
  <Override PartName="/ppt/notesSlides/notesSlide2.xml" ContentType="application/vnd.openxmlformats-officedocument.presentationml.notesSlide+xml"/>
  <Override PartName="/ppt/tags/tag69.xml" ContentType="application/vnd.openxmlformats-officedocument.presentationml.tags+xml"/>
  <Override PartName="/ppt/notesSlides/notesSlide3.xml" ContentType="application/vnd.openxmlformats-officedocument.presentationml.notesSlide+xml"/>
  <Override PartName="/ppt/tags/tag70.xml" ContentType="application/vnd.openxmlformats-officedocument.presentationml.tags+xml"/>
  <Override PartName="/ppt/notesSlides/notesSlide4.xml" ContentType="application/vnd.openxmlformats-officedocument.presentationml.notesSlide+xml"/>
  <Override PartName="/ppt/tags/tag71.xml" ContentType="application/vnd.openxmlformats-officedocument.presentationml.tags+xml"/>
  <Override PartName="/ppt/notesSlides/notesSlide5.xml" ContentType="application/vnd.openxmlformats-officedocument.presentationml.notesSlide+xml"/>
  <Override PartName="/ppt/tags/tag72.xml" ContentType="application/vnd.openxmlformats-officedocument.presentationml.tags+xml"/>
  <Override PartName="/ppt/notesSlides/notesSlide6.xml" ContentType="application/vnd.openxmlformats-officedocument.presentationml.notesSlide+xml"/>
  <Override PartName="/ppt/tags/tag73.xml" ContentType="application/vnd.openxmlformats-officedocument.presentationml.tags+xml"/>
  <Override PartName="/ppt/notesSlides/notesSlide7.xml" ContentType="application/vnd.openxmlformats-officedocument.presentationml.notesSlide+xml"/>
  <Override PartName="/ppt/tags/tag74.xml" ContentType="application/vnd.openxmlformats-officedocument.presentationml.tags+xml"/>
  <Override PartName="/ppt/notesSlides/notesSlide8.xml" ContentType="application/vnd.openxmlformats-officedocument.presentationml.notesSlide+xml"/>
  <Override PartName="/ppt/tags/tag75.xml" ContentType="application/vnd.openxmlformats-officedocument.presentationml.tags+xml"/>
  <Override PartName="/ppt/notesSlides/notesSlide9.xml" ContentType="application/vnd.openxmlformats-officedocument.presentationml.notesSlide+xml"/>
  <Override PartName="/ppt/tags/tag76.xml" ContentType="application/vnd.openxmlformats-officedocument.presentationml.tags+xml"/>
  <Override PartName="/ppt/notesSlides/notesSlide10.xml" ContentType="application/vnd.openxmlformats-officedocument.presentationml.notesSlide+xml"/>
  <Override PartName="/ppt/tags/tag77.xml" ContentType="application/vnd.openxmlformats-officedocument.presentationml.tags+xml"/>
  <Override PartName="/ppt/notesSlides/notesSlide11.xml" ContentType="application/vnd.openxmlformats-officedocument.presentationml.notesSlide+xml"/>
  <Override PartName="/ppt/tags/tag78.xml" ContentType="application/vnd.openxmlformats-officedocument.presentationml.tags+xml"/>
  <Override PartName="/ppt/notesSlides/notesSlide12.xml" ContentType="application/vnd.openxmlformats-officedocument.presentationml.notesSlide+xml"/>
  <Override PartName="/ppt/tags/tag79.xml" ContentType="application/vnd.openxmlformats-officedocument.presentationml.tags+xml"/>
  <Override PartName="/ppt/notesSlides/notesSlide13.xml" ContentType="application/vnd.openxmlformats-officedocument.presentationml.notesSlide+xml"/>
  <Override PartName="/ppt/charts/chart49.xml" ContentType="application/vnd.openxmlformats-officedocument.drawingml.chart+xml"/>
  <Override PartName="/ppt/charts/style1.xml" ContentType="application/vnd.ms-office.chartstyle+xml"/>
  <Override PartName="/ppt/charts/colors1.xml" ContentType="application/vnd.ms-office.chartcolorstyle+xml"/>
  <Override PartName="/ppt/tags/tag80.xml" ContentType="application/vnd.openxmlformats-officedocument.presentationml.tags+xml"/>
  <Override PartName="/ppt/notesSlides/notesSlide14.xml" ContentType="application/vnd.openxmlformats-officedocument.presentationml.notesSlide+xml"/>
  <Override PartName="/ppt/charts/chart50.xml" ContentType="application/vnd.openxmlformats-officedocument.drawingml.chart+xml"/>
  <Override PartName="/ppt/charts/style2.xml" ContentType="application/vnd.ms-office.chartstyle+xml"/>
  <Override PartName="/ppt/charts/colors2.xml" ContentType="application/vnd.ms-office.chartcolorstyle+xml"/>
  <Override PartName="/ppt/tags/tag81.xml" ContentType="application/vnd.openxmlformats-officedocument.presentationml.tags+xml"/>
  <Override PartName="/ppt/notesSlides/notesSlide15.xml" ContentType="application/vnd.openxmlformats-officedocument.presentationml.notesSlide+xml"/>
  <Override PartName="/ppt/charts/chart51.xml" ContentType="application/vnd.openxmlformats-officedocument.drawingml.chart+xml"/>
  <Override PartName="/ppt/charts/style3.xml" ContentType="application/vnd.ms-office.chartstyle+xml"/>
  <Override PartName="/ppt/charts/colors3.xml" ContentType="application/vnd.ms-office.chartcolorstyle+xml"/>
  <Override PartName="/ppt/tags/tag82.xml" ContentType="application/vnd.openxmlformats-officedocument.presentationml.tags+xml"/>
  <Override PartName="/ppt/notesSlides/notesSlide16.xml" ContentType="application/vnd.openxmlformats-officedocument.presentationml.notesSlide+xml"/>
  <Override PartName="/ppt/charts/chart52.xml" ContentType="application/vnd.openxmlformats-officedocument.drawingml.chart+xml"/>
  <Override PartName="/ppt/charts/style4.xml" ContentType="application/vnd.ms-office.chartstyle+xml"/>
  <Override PartName="/ppt/charts/colors4.xml" ContentType="application/vnd.ms-office.chartcolorstyle+xml"/>
  <Override PartName="/ppt/tags/tag83.xml" ContentType="application/vnd.openxmlformats-officedocument.presentationml.tags+xml"/>
  <Override PartName="/ppt/notesSlides/notesSlide17.xml" ContentType="application/vnd.openxmlformats-officedocument.presentationml.notesSlide+xml"/>
  <Override PartName="/ppt/charts/chart53.xml" ContentType="application/vnd.openxmlformats-officedocument.drawingml.chart+xml"/>
  <Override PartName="/ppt/charts/style5.xml" ContentType="application/vnd.ms-office.chartstyle+xml"/>
  <Override PartName="/ppt/charts/colors5.xml" ContentType="application/vnd.ms-office.chartcolorstyle+xml"/>
  <Override PartName="/ppt/tags/tag84.xml" ContentType="application/vnd.openxmlformats-officedocument.presentationml.tags+xml"/>
  <Override PartName="/ppt/notesSlides/notesSlide18.xml" ContentType="application/vnd.openxmlformats-officedocument.presentationml.notesSlide+xml"/>
  <Override PartName="/ppt/charts/chart54.xml" ContentType="application/vnd.openxmlformats-officedocument.drawingml.chart+xml"/>
  <Override PartName="/ppt/charts/style6.xml" ContentType="application/vnd.ms-office.chartstyle+xml"/>
  <Override PartName="/ppt/charts/colors6.xml" ContentType="application/vnd.ms-office.chartcolorstyle+xml"/>
  <Override PartName="/ppt/tags/tag85.xml" ContentType="application/vnd.openxmlformats-officedocument.presentationml.tags+xml"/>
  <Override PartName="/ppt/notesSlides/notesSlide19.xml" ContentType="application/vnd.openxmlformats-officedocument.presentationml.notesSlide+xml"/>
  <Override PartName="/ppt/charts/chart55.xml" ContentType="application/vnd.openxmlformats-officedocument.drawingml.chart+xml"/>
  <Override PartName="/ppt/charts/style7.xml" ContentType="application/vnd.ms-office.chartstyle+xml"/>
  <Override PartName="/ppt/charts/colors7.xml" ContentType="application/vnd.ms-office.chartcolorstyle+xml"/>
  <Override PartName="/ppt/tags/tag86.xml" ContentType="application/vnd.openxmlformats-officedocument.presentationml.tags+xml"/>
  <Override PartName="/ppt/notesSlides/notesSlide20.xml" ContentType="application/vnd.openxmlformats-officedocument.presentationml.notesSlide+xml"/>
  <Override PartName="/ppt/charts/chart56.xml" ContentType="application/vnd.openxmlformats-officedocument.drawingml.chart+xml"/>
  <Override PartName="/ppt/charts/style8.xml" ContentType="application/vnd.ms-office.chartstyle+xml"/>
  <Override PartName="/ppt/charts/colors8.xml" ContentType="application/vnd.ms-office.chartcolorstyle+xml"/>
  <Override PartName="/ppt/tags/tag87.xml" ContentType="application/vnd.openxmlformats-officedocument.presentationml.tags+xml"/>
  <Override PartName="/ppt/notesSlides/notesSlide21.xml" ContentType="application/vnd.openxmlformats-officedocument.presentationml.notesSlide+xml"/>
  <Override PartName="/ppt/charts/chart57.xml" ContentType="application/vnd.openxmlformats-officedocument.drawingml.chart+xml"/>
  <Override PartName="/ppt/charts/style9.xml" ContentType="application/vnd.ms-office.chartstyle+xml"/>
  <Override PartName="/ppt/charts/colors9.xml" ContentType="application/vnd.ms-office.chartcolorstyle+xml"/>
  <Override PartName="/ppt/tags/tag88.xml" ContentType="application/vnd.openxmlformats-officedocument.presentationml.tags+xml"/>
  <Override PartName="/ppt/notesSlides/notesSlide22.xml" ContentType="application/vnd.openxmlformats-officedocument.presentationml.notesSlide+xml"/>
  <Override PartName="/ppt/charts/chart58.xml" ContentType="application/vnd.openxmlformats-officedocument.drawingml.chart+xml"/>
  <Override PartName="/ppt/charts/style10.xml" ContentType="application/vnd.ms-office.chartstyle+xml"/>
  <Override PartName="/ppt/charts/colors10.xml" ContentType="application/vnd.ms-office.chartcolorstyle+xml"/>
  <Override PartName="/ppt/tags/tag89.xml" ContentType="application/vnd.openxmlformats-officedocument.presentationml.tags+xml"/>
  <Override PartName="/ppt/notesSlides/notesSlide23.xml" ContentType="application/vnd.openxmlformats-officedocument.presentationml.notesSlide+xml"/>
  <Override PartName="/ppt/charts/chart59.xml" ContentType="application/vnd.openxmlformats-officedocument.drawingml.chart+xml"/>
  <Override PartName="/ppt/charts/style11.xml" ContentType="application/vnd.ms-office.chartstyle+xml"/>
  <Override PartName="/ppt/charts/colors11.xml" ContentType="application/vnd.ms-office.chartcolorstyle+xml"/>
  <Override PartName="/ppt/tags/tag90.xml" ContentType="application/vnd.openxmlformats-officedocument.presentationml.tags+xml"/>
  <Override PartName="/ppt/notesSlides/notesSlide24.xml" ContentType="application/vnd.openxmlformats-officedocument.presentationml.notesSlide+xml"/>
  <Override PartName="/ppt/charts/chart60.xml" ContentType="application/vnd.openxmlformats-officedocument.drawingml.chart+xml"/>
  <Override PartName="/ppt/charts/style12.xml" ContentType="application/vnd.ms-office.chartstyle+xml"/>
  <Override PartName="/ppt/charts/colors12.xml" ContentType="application/vnd.ms-office.chartcolorstyle+xml"/>
  <Override PartName="/ppt/tags/tag91.xml" ContentType="application/vnd.openxmlformats-officedocument.presentationml.tags+xml"/>
  <Override PartName="/ppt/notesSlides/notesSlide25.xml" ContentType="application/vnd.openxmlformats-officedocument.presentationml.notesSlide+xml"/>
  <Override PartName="/ppt/charts/chart61.xml" ContentType="application/vnd.openxmlformats-officedocument.drawingml.chart+xml"/>
  <Override PartName="/ppt/charts/style13.xml" ContentType="application/vnd.ms-office.chartstyle+xml"/>
  <Override PartName="/ppt/charts/colors13.xml" ContentType="application/vnd.ms-office.chartcolorstyle+xml"/>
  <Override PartName="/ppt/tags/tag92.xml" ContentType="application/vnd.openxmlformats-officedocument.presentationml.tags+xml"/>
  <Override PartName="/ppt/notesSlides/notesSlide26.xml" ContentType="application/vnd.openxmlformats-officedocument.presentationml.notesSlide+xml"/>
  <Override PartName="/ppt/charts/chart62.xml" ContentType="application/vnd.openxmlformats-officedocument.drawingml.chart+xml"/>
  <Override PartName="/ppt/charts/style14.xml" ContentType="application/vnd.ms-office.chartstyle+xml"/>
  <Override PartName="/ppt/charts/colors14.xml" ContentType="application/vnd.ms-office.chartcolorstyle+xml"/>
  <Override PartName="/ppt/tags/tag93.xml" ContentType="application/vnd.openxmlformats-officedocument.presentationml.tags+xml"/>
  <Override PartName="/ppt/notesSlides/notesSlide27.xml" ContentType="application/vnd.openxmlformats-officedocument.presentationml.notesSlide+xml"/>
  <Override PartName="/ppt/charts/chart63.xml" ContentType="application/vnd.openxmlformats-officedocument.drawingml.chart+xml"/>
  <Override PartName="/ppt/charts/style15.xml" ContentType="application/vnd.ms-office.chartstyle+xml"/>
  <Override PartName="/ppt/charts/colors15.xml" ContentType="application/vnd.ms-office.chartcolorstyle+xml"/>
  <Override PartName="/ppt/tags/tag94.xml" ContentType="application/vnd.openxmlformats-officedocument.presentationml.tags+xml"/>
  <Override PartName="/ppt/notesSlides/notesSlide28.xml" ContentType="application/vnd.openxmlformats-officedocument.presentationml.notesSlide+xml"/>
  <Override PartName="/ppt/charts/chart64.xml" ContentType="application/vnd.openxmlformats-officedocument.drawingml.chart+xml"/>
  <Override PartName="/ppt/charts/style16.xml" ContentType="application/vnd.ms-office.chartstyle+xml"/>
  <Override PartName="/ppt/charts/colors16.xml" ContentType="application/vnd.ms-office.chartcolorstyle+xml"/>
  <Override PartName="/ppt/tags/tag95.xml" ContentType="application/vnd.openxmlformats-officedocument.presentationml.tags+xml"/>
  <Override PartName="/ppt/notesSlides/notesSlide29.xml" ContentType="application/vnd.openxmlformats-officedocument.presentationml.notesSlide+xml"/>
  <Override PartName="/ppt/charts/chart65.xml" ContentType="application/vnd.openxmlformats-officedocument.drawingml.chart+xml"/>
  <Override PartName="/ppt/charts/style17.xml" ContentType="application/vnd.ms-office.chartstyle+xml"/>
  <Override PartName="/ppt/charts/colors17.xml" ContentType="application/vnd.ms-office.chartcolorstyle+xml"/>
  <Override PartName="/ppt/tags/tag96.xml" ContentType="application/vnd.openxmlformats-officedocument.presentationml.tags+xml"/>
  <Override PartName="/ppt/notesSlides/notesSlide30.xml" ContentType="application/vnd.openxmlformats-officedocument.presentationml.notesSlide+xml"/>
  <Override PartName="/ppt/charts/chart66.xml" ContentType="application/vnd.openxmlformats-officedocument.drawingml.chart+xml"/>
  <Override PartName="/ppt/charts/style18.xml" ContentType="application/vnd.ms-office.chartstyle+xml"/>
  <Override PartName="/ppt/charts/colors18.xml" ContentType="application/vnd.ms-office.chartcolorstyle+xml"/>
  <Override PartName="/ppt/tags/tag97.xml" ContentType="application/vnd.openxmlformats-officedocument.presentationml.tags+xml"/>
  <Override PartName="/ppt/notesSlides/notesSlide31.xml" ContentType="application/vnd.openxmlformats-officedocument.presentationml.notesSlide+xml"/>
  <Override PartName="/ppt/charts/chart67.xml" ContentType="application/vnd.openxmlformats-officedocument.drawingml.chart+xml"/>
  <Override PartName="/ppt/charts/style19.xml" ContentType="application/vnd.ms-office.chartstyle+xml"/>
  <Override PartName="/ppt/charts/colors19.xml" ContentType="application/vnd.ms-office.chartcolorstyle+xml"/>
  <Override PartName="/ppt/tags/tag98.xml" ContentType="application/vnd.openxmlformats-officedocument.presentationml.tags+xml"/>
  <Override PartName="/ppt/notesSlides/notesSlide32.xml" ContentType="application/vnd.openxmlformats-officedocument.presentationml.notesSlide+xml"/>
  <Override PartName="/ppt/charts/chart68.xml" ContentType="application/vnd.openxmlformats-officedocument.drawingml.chart+xml"/>
  <Override PartName="/ppt/charts/style20.xml" ContentType="application/vnd.ms-office.chartstyle+xml"/>
  <Override PartName="/ppt/charts/colors20.xml" ContentType="application/vnd.ms-office.chartcolorstyle+xml"/>
  <Override PartName="/ppt/tags/tag99.xml" ContentType="application/vnd.openxmlformats-officedocument.presentationml.tags+xml"/>
  <Override PartName="/ppt/notesSlides/notesSlide33.xml" ContentType="application/vnd.openxmlformats-officedocument.presentationml.notesSlide+xml"/>
  <Override PartName="/ppt/charts/chart69.xml" ContentType="application/vnd.openxmlformats-officedocument.drawingml.chart+xml"/>
  <Override PartName="/ppt/charts/style21.xml" ContentType="application/vnd.ms-office.chartstyle+xml"/>
  <Override PartName="/ppt/charts/colors21.xml" ContentType="application/vnd.ms-office.chartcolorstyle+xml"/>
  <Override PartName="/ppt/tags/tag100.xml" ContentType="application/vnd.openxmlformats-officedocument.presentationml.tags+xml"/>
  <Override PartName="/ppt/notesSlides/notesSlide34.xml" ContentType="application/vnd.openxmlformats-officedocument.presentationml.notesSlide+xml"/>
  <Override PartName="/ppt/charts/chart70.xml" ContentType="application/vnd.openxmlformats-officedocument.drawingml.chart+xml"/>
  <Override PartName="/ppt/charts/style22.xml" ContentType="application/vnd.ms-office.chartstyle+xml"/>
  <Override PartName="/ppt/charts/colors22.xml" ContentType="application/vnd.ms-office.chartcolorstyle+xml"/>
  <Override PartName="/ppt/tags/tag101.xml" ContentType="application/vnd.openxmlformats-officedocument.presentationml.tags+xml"/>
  <Override PartName="/ppt/notesSlides/notesSlide35.xml" ContentType="application/vnd.openxmlformats-officedocument.presentationml.notesSlide+xml"/>
  <Override PartName="/ppt/charts/chart71.xml" ContentType="application/vnd.openxmlformats-officedocument.drawingml.chart+xml"/>
  <Override PartName="/ppt/charts/style23.xml" ContentType="application/vnd.ms-office.chartstyle+xml"/>
  <Override PartName="/ppt/charts/colors23.xml" ContentType="application/vnd.ms-office.chartcolorstyle+xml"/>
  <Override PartName="/ppt/tags/tag102.xml" ContentType="application/vnd.openxmlformats-officedocument.presentationml.tags+xml"/>
  <Override PartName="/ppt/notesSlides/notesSlide36.xml" ContentType="application/vnd.openxmlformats-officedocument.presentationml.notesSlide+xml"/>
  <Override PartName="/ppt/charts/chart72.xml" ContentType="application/vnd.openxmlformats-officedocument.drawingml.chart+xml"/>
  <Override PartName="/ppt/charts/style24.xml" ContentType="application/vnd.ms-office.chartstyle+xml"/>
  <Override PartName="/ppt/charts/colors24.xml" ContentType="application/vnd.ms-office.chartcolorstyle+xml"/>
  <Override PartName="/ppt/tags/tag103.xml" ContentType="application/vnd.openxmlformats-officedocument.presentationml.tags+xml"/>
  <Override PartName="/ppt/notesSlides/notesSlide37.xml" ContentType="application/vnd.openxmlformats-officedocument.presentationml.notesSlide+xml"/>
  <Override PartName="/ppt/charts/chart73.xml" ContentType="application/vnd.openxmlformats-officedocument.drawingml.chart+xml"/>
  <Override PartName="/ppt/charts/style25.xml" ContentType="application/vnd.ms-office.chartstyle+xml"/>
  <Override PartName="/ppt/charts/colors25.xml" ContentType="application/vnd.ms-office.chartcolorstyle+xml"/>
  <Override PartName="/ppt/tags/tag104.xml" ContentType="application/vnd.openxmlformats-officedocument.presentationml.tags+xml"/>
  <Override PartName="/ppt/notesSlides/notesSlide38.xml" ContentType="application/vnd.openxmlformats-officedocument.presentationml.notesSlide+xml"/>
  <Override PartName="/ppt/charts/chart74.xml" ContentType="application/vnd.openxmlformats-officedocument.drawingml.chart+xml"/>
  <Override PartName="/ppt/charts/style26.xml" ContentType="application/vnd.ms-office.chartstyle+xml"/>
  <Override PartName="/ppt/charts/colors26.xml" ContentType="application/vnd.ms-office.chartcolorstyle+xml"/>
  <Override PartName="/ppt/tags/tag105.xml" ContentType="application/vnd.openxmlformats-officedocument.presentationml.tags+xml"/>
  <Override PartName="/ppt/notesSlides/notesSlide39.xml" ContentType="application/vnd.openxmlformats-officedocument.presentationml.notesSlide+xml"/>
  <Override PartName="/ppt/charts/chart75.xml" ContentType="application/vnd.openxmlformats-officedocument.drawingml.chart+xml"/>
  <Override PartName="/ppt/charts/style27.xml" ContentType="application/vnd.ms-office.chartstyle+xml"/>
  <Override PartName="/ppt/charts/colors27.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83"/>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Summary Category" id="{8AB67AA5-A9A7-4342-B25C-EDE430B7182C}">
          <p14:sldIdLst>
            <p14:sldId id="2147477365"/>
            <p14:sldId id="2147477366"/>
            <p14:sldId id="2147477367"/>
          </p14:sldIdLst>
        </p14:section>
        <p14:section name="Price Positioning Summary Sector" id="{0FE28F61-B622-4F48-B662-ED125269A1C5}">
          <p14:sldIdLst>
            <p14:sldId id="2147477368"/>
            <p14:sldId id="2147477369"/>
            <p14:sldId id="2147477370"/>
          </p14:sldIdLst>
        </p14:section>
        <p14:section name="Price Positioning Summary Segment" id="{138F5966-548D-4A74-A2BA-6519855AA5D2}">
          <p14:sldIdLst>
            <p14:sldId id="2147477371"/>
            <p14:sldId id="2147477372"/>
            <p14:sldId id="2147477373"/>
          </p14:sldIdLst>
        </p14:section>
        <p14:section name="Price Positioning Analysis By Brands" id="{5DF0F17D-0635-447C-887D-DB809E9A4B7D}">
          <p14:sldIdLst>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Lst>
        </p14:section>
        <p14:section name="Price Positioning Analysis By Manufacturer" id="{B1E3607E-013C-4BF9-9C35-BE32496EEB25}">
          <p14:sldIdLst>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Lst>
        </p14:section>
        <p14:section name="Sectors Share and Growth By Brands" id="{CA99CDFB-E78D-4D21-A294-D39EECB94A19}">
          <p14:sldIdLst>
            <p14:sldId id="2147477404"/>
            <p14:sldId id="2147477405"/>
            <p14:sldId id="2147477406"/>
          </p14:sldIdLst>
        </p14:section>
        <p14:section name="Segments Share and Growth By Brands" id="{A1F1EE7E-CC5C-4DE4-A19E-71B119D2ACFB}">
          <p14:sldIdLst>
            <p14:sldId id="2147477407"/>
            <p14:sldId id="2147477408"/>
            <p14:sldId id="2147477409"/>
          </p14:sldIdLst>
        </p14:section>
        <p14:section name="Sectors Share and Growth By Manufacturer" id="{7072B003-7590-414F-8019-33F5E23E1F3C}">
          <p14:sldIdLst>
            <p14:sldId id="2147477410"/>
            <p14:sldId id="2147477411"/>
            <p14:sldId id="2147477412"/>
          </p14:sldIdLst>
        </p14:section>
        <p14:section name="Segments Share and Growth By Manufacturer" id="{94E54EF2-0AA5-46D8-BA56-B3462BABD1AD}">
          <p14:sldIdLst>
            <p14:sldId id="2147477413"/>
            <p14:sldId id="2147477414"/>
            <p14:sldId id="2147477415"/>
          </p14:sldIdLst>
        </p14:section>
        <p14:section name="Sec/Seg Value Sales Vs Avg Price By Manufacturer" id="{89F9BC3A-91CD-49BD-A3D8-EAEEF421B7F0}">
          <p14:sldIdLst>
            <p14:sldId id="2147477416"/>
            <p14:sldId id="2147477417"/>
            <p14:sldId id="2147477418"/>
          </p14:sldIdLst>
        </p14:section>
        <p14:section name="Sec/Seg Value Sales Vs Avg Price" id="{08820900-46C8-438F-8F32-6D918E4036E7}">
          <p14:sldIdLst>
            <p14:sldId id="2147477419"/>
            <p14:sldId id="2147477420"/>
            <p14:sldId id="2147477421"/>
            <p14:sldId id="2147477422"/>
            <p14:sldId id="2147477423"/>
            <p14:sldId id="2147477424"/>
            <p14:sldId id="2147477425"/>
            <p14:sldId id="2147477426"/>
          </p14:sldIdLst>
        </p14:section>
        <p14:section name="Sectors Value Sales Vs Avg Price" id="{91F3ED8C-1A54-4F14-AF49-85D17BF9271C}">
          <p14:sldIdLst>
            <p14:sldId id="2147477427"/>
            <p14:sldId id="2147477428"/>
            <p14:sldId id="2147477429"/>
            <p14:sldId id="2147477430"/>
            <p14:sldId id="2147477431"/>
            <p14:sldId id="2147477432"/>
            <p14:sldId id="2147477433"/>
            <p14:sldId id="2147477434"/>
          </p14:sldIdLst>
        </p14:section>
        <p14:section name="Segment Value Sales Vs Avg Price" id="{B33A278F-18CC-441C-A426-DE5E81A388D8}">
          <p14:sldIdLst>
            <p14:sldId id="2147477435"/>
            <p14:sldId id="2147477436"/>
            <p14:sldId id="2147477437"/>
            <p14:sldId id="2147477438"/>
            <p14:sldId id="2147477439"/>
            <p14:sldId id="2147477440"/>
            <p14:sldId id="2147477441"/>
            <p14:sldId id="214747744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presProps" Target="presProp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notesMaster" Target="notesMasters/notesMaster1.xml"/><Relationship Id="rId88"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tableStyles" Target="tableStyles.xml"/><Relationship Id="rId61" Type="http://schemas.openxmlformats.org/officeDocument/2006/relationships/slide" Target="slides/slide57.xml"/><Relationship Id="rId82" Type="http://schemas.openxmlformats.org/officeDocument/2006/relationships/slide" Target="slides/slide7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1.xml"/><Relationship Id="rId1" Type="http://schemas.microsoft.com/office/2011/relationships/chartStyle" Target="style1.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2.xml"/><Relationship Id="rId1" Type="http://schemas.microsoft.com/office/2011/relationships/chartStyle" Target="style2.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3.xml"/><Relationship Id="rId1" Type="http://schemas.microsoft.com/office/2011/relationships/chartStyle" Target="style3.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4.xml"/><Relationship Id="rId1" Type="http://schemas.microsoft.com/office/2011/relationships/chartStyle" Target="style4.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xml"/><Relationship Id="rId1" Type="http://schemas.microsoft.com/office/2011/relationships/chartStyle" Target="style5.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6.xml"/><Relationship Id="rId1" Type="http://schemas.microsoft.com/office/2011/relationships/chartStyle" Target="style6.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7.xml"/><Relationship Id="rId1" Type="http://schemas.microsoft.com/office/2011/relationships/chartStyle" Target="style7.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8.xml"/><Relationship Id="rId1" Type="http://schemas.microsoft.com/office/2011/relationships/chartStyle" Target="style8.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9.xml"/><Relationship Id="rId1" Type="http://schemas.microsoft.com/office/2011/relationships/chartStyle" Target="style9.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10.xml"/><Relationship Id="rId1" Type="http://schemas.microsoft.com/office/2011/relationships/chartStyle" Target="style10.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11.xml"/><Relationship Id="rId1" Type="http://schemas.microsoft.com/office/2011/relationships/chartStyle" Target="style11.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12.xml"/><Relationship Id="rId1" Type="http://schemas.microsoft.com/office/2011/relationships/chartStyle" Target="style12.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13.xml"/><Relationship Id="rId1" Type="http://schemas.microsoft.com/office/2011/relationships/chartStyle" Target="style13.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14.xml"/><Relationship Id="rId1" Type="http://schemas.microsoft.com/office/2011/relationships/chartStyle" Target="style14.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15.xml"/><Relationship Id="rId1" Type="http://schemas.microsoft.com/office/2011/relationships/chartStyle" Target="style15.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16.xml"/><Relationship Id="rId1" Type="http://schemas.microsoft.com/office/2011/relationships/chartStyle" Target="style16.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17.xml"/><Relationship Id="rId1" Type="http://schemas.microsoft.com/office/2011/relationships/chartStyle" Target="style17.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18.xml"/><Relationship Id="rId1" Type="http://schemas.microsoft.com/office/2011/relationships/chartStyle" Target="style18.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19.xml"/><Relationship Id="rId1" Type="http://schemas.microsoft.com/office/2011/relationships/chartStyle" Target="style19.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20.xml"/><Relationship Id="rId1" Type="http://schemas.microsoft.com/office/2011/relationships/chartStyle" Target="style20.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21.xml"/><Relationship Id="rId1" Type="http://schemas.microsoft.com/office/2011/relationships/chartStyle" Target="style21.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22.xml"/><Relationship Id="rId1" Type="http://schemas.microsoft.com/office/2011/relationships/chartStyle" Target="style22.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23.xml"/><Relationship Id="rId1" Type="http://schemas.microsoft.com/office/2011/relationships/chartStyle" Target="style23.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24.xml"/><Relationship Id="rId1" Type="http://schemas.microsoft.com/office/2011/relationships/chartStyle" Target="style24.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25.xml"/><Relationship Id="rId1" Type="http://schemas.microsoft.com/office/2011/relationships/chartStyle" Target="style25.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26.xml"/><Relationship Id="rId1" Type="http://schemas.microsoft.com/office/2011/relationships/chartStyle" Target="style26.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27.xml"/><Relationship Id="rId1" Type="http://schemas.microsoft.com/office/2011/relationships/chartStyle" Target="style27.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E1DB750-8818-4C72-8CD0-0C1A4410D3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E95828B-4151-4E45-9441-E6C8DAF7CA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291A0AA-F281-45A7-8D4E-6B01318204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855701A-4F2A-4534-8E60-2662DA2E94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E48E0C9-3908-4F2C-9E06-39ECBD058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BE8C291-5B1E-48C6-BBDB-F36C762B70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56020DF-ECD5-4304-AC69-393A6BEFC8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8AA6521-E419-4F9B-8A55-B73822DB45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6.812899999999999</c:v>
                </c:pt>
                <c:pt idx="1">
                  <c:v>12.4175</c:v>
                </c:pt>
                <c:pt idx="2">
                  <c:v>6.0914999999999999</c:v>
                </c:pt>
                <c:pt idx="3">
                  <c:v>10.7544</c:v>
                </c:pt>
                <c:pt idx="4">
                  <c:v>4.9539</c:v>
                </c:pt>
                <c:pt idx="5">
                  <c:v>4.1436000000000002</c:v>
                </c:pt>
                <c:pt idx="6">
                  <c:v>9.5934000000000008</c:v>
                </c:pt>
                <c:pt idx="7">
                  <c:v>13.051500000000001</c:v>
                </c:pt>
              </c:numCache>
            </c:numRef>
          </c:xVal>
          <c:yVal>
            <c:numRef>
              <c:f>Sheet1!$B$2:$B$9</c:f>
              <c:numCache>
                <c:formatCode>General</c:formatCode>
                <c:ptCount val="8"/>
                <c:pt idx="0">
                  <c:v>1.321</c:v>
                </c:pt>
                <c:pt idx="1">
                  <c:v>1.44</c:v>
                </c:pt>
                <c:pt idx="2">
                  <c:v>0.55300000000000005</c:v>
                </c:pt>
                <c:pt idx="3">
                  <c:v>0.77100000000000002</c:v>
                </c:pt>
                <c:pt idx="4">
                  <c:v>0.46200000000000002</c:v>
                </c:pt>
                <c:pt idx="5">
                  <c:v>0.36899999999999999</c:v>
                </c:pt>
                <c:pt idx="6">
                  <c:v>1.512</c:v>
                </c:pt>
                <c:pt idx="7">
                  <c:v>2.0129999999999999</c:v>
                </c:pt>
              </c:numCache>
            </c:numRef>
          </c:yVal>
          <c:bubbleSize>
            <c:numRef>
              <c:f>Sheet1!$C$2:$C$9</c:f>
              <c:numCache>
                <c:formatCode>General</c:formatCode>
                <c:ptCount val="8"/>
                <c:pt idx="0">
                  <c:v>972086869</c:v>
                </c:pt>
                <c:pt idx="1">
                  <c:v>184811438</c:v>
                </c:pt>
                <c:pt idx="2">
                  <c:v>126968743</c:v>
                </c:pt>
                <c:pt idx="3">
                  <c:v>114853020</c:v>
                </c:pt>
                <c:pt idx="4">
                  <c:v>36884480</c:v>
                </c:pt>
                <c:pt idx="5">
                  <c:v>35079369</c:v>
                </c:pt>
                <c:pt idx="6">
                  <c:v>31033081</c:v>
                </c:pt>
                <c:pt idx="7">
                  <c:v>179135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Schick</c:v>
                  </c:pt>
                  <c:pt idx="4">
                    <c:v>Pbg Pl</c:v>
                  </c:pt>
                  <c:pt idx="5">
                    <c:v>Equate</c:v>
                  </c:pt>
                  <c:pt idx="6">
                    <c:v>Dollar Shave Club</c:v>
                  </c:pt>
                  <c:pt idx="7">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AA890B3-B360-4C11-9F99-A45F286119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9ABA7AE-7F2E-47AC-9FBC-9E508BFC56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F81C6E8-5DEA-446A-ACFB-672E955477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7602E71-8496-4847-B817-23B065DE37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4BB6A9-038F-4DD5-9C5F-15C2208678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7DB2B66-882C-4E92-9015-F4964FAD79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EAF6307-D640-4872-A8F0-403CAACDF5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006B42D-2734-492E-AFBF-1119E597F3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0.517799999999999</c:v>
                </c:pt>
                <c:pt idx="1">
                  <c:v>5.4038000000000004</c:v>
                </c:pt>
                <c:pt idx="2">
                  <c:v>9.1806999999999999</c:v>
                </c:pt>
                <c:pt idx="3">
                  <c:v>3.3511000000000002</c:v>
                </c:pt>
                <c:pt idx="4">
                  <c:v>4.0956000000000001</c:v>
                </c:pt>
                <c:pt idx="5">
                  <c:v>2.5627</c:v>
                </c:pt>
              </c:numCache>
            </c:numRef>
          </c:xVal>
          <c:yVal>
            <c:numRef>
              <c:f>Sheet1!$B$2:$B$7</c:f>
              <c:numCache>
                <c:formatCode>General</c:formatCode>
                <c:ptCount val="6"/>
                <c:pt idx="0">
                  <c:v>1.2330000000000001</c:v>
                </c:pt>
                <c:pt idx="1">
                  <c:v>0.91200000000000003</c:v>
                </c:pt>
                <c:pt idx="2">
                  <c:v>1.1040000000000001</c:v>
                </c:pt>
                <c:pt idx="3">
                  <c:v>0.54700000000000004</c:v>
                </c:pt>
                <c:pt idx="4">
                  <c:v>0.69399999999999995</c:v>
                </c:pt>
                <c:pt idx="5">
                  <c:v>0.34899999999999998</c:v>
                </c:pt>
              </c:numCache>
            </c:numRef>
          </c:yVal>
          <c:bubbleSize>
            <c:numRef>
              <c:f>Sheet1!$C$2:$C$7</c:f>
              <c:numCache>
                <c:formatCode>General</c:formatCode>
                <c:ptCount val="6"/>
                <c:pt idx="0">
                  <c:v>248713657</c:v>
                </c:pt>
                <c:pt idx="1">
                  <c:v>86472426</c:v>
                </c:pt>
                <c:pt idx="2">
                  <c:v>65459695</c:v>
                </c:pt>
                <c:pt idx="3">
                  <c:v>25060210</c:v>
                </c:pt>
                <c:pt idx="4">
                  <c:v>23257539</c:v>
                </c:pt>
                <c:pt idx="5">
                  <c:v>8075661</c:v>
                </c:pt>
              </c:numCache>
            </c:numRef>
          </c:bubbleSize>
          <c:bubble3D val="0"/>
          <c:extLst>
            <c:ext xmlns:c15="http://schemas.microsoft.com/office/drawing/2012/chart" uri="{02D57815-91ED-43cb-92C2-25804820EDAC}">
              <c15:datalabelsRange>
                <c15:f>Sheet1!$E$2:$E$10</c15:f>
                <c15:dlblRangeCache>
                  <c:ptCount val="9"/>
                  <c:pt idx="0">
                    <c:v>Gillette</c:v>
                  </c:pt>
                  <c:pt idx="1">
                    <c:v>Bic</c:v>
                  </c:pt>
                  <c:pt idx="2">
                    <c:v>Schick</c:v>
                  </c:pt>
                  <c:pt idx="3">
                    <c:v>Equate</c:v>
                  </c:pt>
                  <c:pt idx="4">
                    <c:v>Pbg Pl</c:v>
                  </c:pt>
                  <c:pt idx="5">
                    <c:v>Private La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82D85BF9-1F84-41C8-8500-824D29682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D3BC2EE3-F5A6-4C80-BAD4-13080139E3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F687B992-3E0C-455A-8343-88609F419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ECF5A2C3-FF77-40A9-A9A9-492E7A25D5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4BC2A5DA-F45E-47C8-852D-F0B3F6556A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E2FE0B8B-9D5F-4386-865D-DB7CD65D5B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E55BA9D9-4FF7-4557-8AB2-240DF4786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FE1D1DD9-5CCE-4A7F-84FC-13BF2410F4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6.314499999999999</c:v>
                </c:pt>
                <c:pt idx="1">
                  <c:v>12.489800000000001</c:v>
                </c:pt>
                <c:pt idx="2">
                  <c:v>10.9337</c:v>
                </c:pt>
                <c:pt idx="3">
                  <c:v>9.1037999999999997</c:v>
                </c:pt>
                <c:pt idx="4">
                  <c:v>18.031400000000001</c:v>
                </c:pt>
                <c:pt idx="5">
                  <c:v>8.3902999999999999</c:v>
                </c:pt>
                <c:pt idx="6">
                  <c:v>8.4393999999999991</c:v>
                </c:pt>
                <c:pt idx="7">
                  <c:v>13.600300000000001</c:v>
                </c:pt>
              </c:numCache>
            </c:numRef>
          </c:xVal>
          <c:yVal>
            <c:numRef>
              <c:f>Sheet1!$B$2:$B$9</c:f>
              <c:numCache>
                <c:formatCode>General</c:formatCode>
                <c:ptCount val="8"/>
                <c:pt idx="0">
                  <c:v>1.157</c:v>
                </c:pt>
                <c:pt idx="1">
                  <c:v>0.86799999999999999</c:v>
                </c:pt>
                <c:pt idx="2">
                  <c:v>0.63200000000000001</c:v>
                </c:pt>
                <c:pt idx="3">
                  <c:v>0.91400000000000003</c:v>
                </c:pt>
                <c:pt idx="4">
                  <c:v>0.73899999999999999</c:v>
                </c:pt>
                <c:pt idx="5">
                  <c:v>0.65200000000000002</c:v>
                </c:pt>
                <c:pt idx="6">
                  <c:v>0.84799999999999998</c:v>
                </c:pt>
                <c:pt idx="7">
                  <c:v>1.1040000000000001</c:v>
                </c:pt>
              </c:numCache>
            </c:numRef>
          </c:yVal>
          <c:bubbleSize>
            <c:numRef>
              <c:f>Sheet1!$C$2:$C$9</c:f>
              <c:numCache>
                <c:formatCode>General</c:formatCode>
                <c:ptCount val="8"/>
                <c:pt idx="0">
                  <c:v>217880579</c:v>
                </c:pt>
                <c:pt idx="1">
                  <c:v>65466766</c:v>
                </c:pt>
                <c:pt idx="2">
                  <c:v>20499734</c:v>
                </c:pt>
                <c:pt idx="3">
                  <c:v>13711128</c:v>
                </c:pt>
                <c:pt idx="4">
                  <c:v>6491139</c:v>
                </c:pt>
                <c:pt idx="5">
                  <c:v>3855524</c:v>
                </c:pt>
                <c:pt idx="6">
                  <c:v>2400107</c:v>
                </c:pt>
                <c:pt idx="7">
                  <c:v>700989</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Van Der Hagen</c:v>
                  </c:pt>
                  <c:pt idx="5">
                    <c:v>Pbg Pl</c:v>
                  </c:pt>
                  <c:pt idx="6">
                    <c:v>Equate</c:v>
                  </c:pt>
                  <c:pt idx="7">
                    <c:v>Cremo</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4A471C35-E394-45C6-BA3F-3F37EC24EC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044F7893-6605-4C90-A4BC-47AB169545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CEC03274-3344-447D-8649-95A62CC5C1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E09266E7-FEA7-4CB7-8BE3-BB64C6359A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46EE3B35-29DC-4E56-8A52-9C3425C30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558EA9AC-B164-46B1-94D3-A40BABC0EF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F2A3F34B-C830-495A-A89E-314EDB708E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82CC64C1-9235-4263-9B2B-86C9F83457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557099999999998</c:v>
                </c:pt>
                <c:pt idx="1">
                  <c:v>12.683999999999999</c:v>
                </c:pt>
                <c:pt idx="2">
                  <c:v>17.270099999999999</c:v>
                </c:pt>
                <c:pt idx="3">
                  <c:v>10.02</c:v>
                </c:pt>
                <c:pt idx="4">
                  <c:v>10.835599999999999</c:v>
                </c:pt>
                <c:pt idx="5">
                  <c:v>8.0243000000000002</c:v>
                </c:pt>
                <c:pt idx="6">
                  <c:v>12.721399999999999</c:v>
                </c:pt>
              </c:numCache>
            </c:numRef>
          </c:xVal>
          <c:yVal>
            <c:numRef>
              <c:f>Sheet1!$B$2:$B$8</c:f>
              <c:numCache>
                <c:formatCode>General</c:formatCode>
                <c:ptCount val="7"/>
                <c:pt idx="0">
                  <c:v>1.2</c:v>
                </c:pt>
                <c:pt idx="1">
                  <c:v>0.81100000000000005</c:v>
                </c:pt>
                <c:pt idx="2">
                  <c:v>0.79900000000000004</c:v>
                </c:pt>
                <c:pt idx="3">
                  <c:v>0.77600000000000002</c:v>
                </c:pt>
                <c:pt idx="4">
                  <c:v>0.72299999999999998</c:v>
                </c:pt>
                <c:pt idx="5">
                  <c:v>0.47099999999999997</c:v>
                </c:pt>
                <c:pt idx="6">
                  <c:v>1.117</c:v>
                </c:pt>
              </c:numCache>
            </c:numRef>
          </c:yVal>
          <c:bubbleSize>
            <c:numRef>
              <c:f>Sheet1!$C$2:$C$8</c:f>
              <c:numCache>
                <c:formatCode>General</c:formatCode>
                <c:ptCount val="7"/>
                <c:pt idx="0">
                  <c:v>503759226</c:v>
                </c:pt>
                <c:pt idx="1">
                  <c:v>116928743</c:v>
                </c:pt>
                <c:pt idx="2">
                  <c:v>28880007</c:v>
                </c:pt>
                <c:pt idx="3">
                  <c:v>17321953</c:v>
                </c:pt>
                <c:pt idx="4">
                  <c:v>7619052</c:v>
                </c:pt>
                <c:pt idx="5">
                  <c:v>7209662</c:v>
                </c:pt>
                <c:pt idx="6">
                  <c:v>1090366</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Equate</c:v>
                  </c:pt>
                  <c:pt idx="5">
                    <c:v>Pbg Pl</c:v>
                  </c:pt>
                  <c:pt idx="6">
                    <c:v>Cremo</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
          <c:min val="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C10E6F0-2D0C-40BB-BC71-F751F77345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65D7F58-446E-47E7-95EA-2BFDE1FD73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43D5595-7FE8-47AD-9CEA-E83A4F7288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495A1B7-803F-4C2D-A3ED-7A95DF68A3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0A529CD-B0D8-42A2-A054-2DD8DBA4C7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64944E5-95C6-428F-9266-D9AF5E80C7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356A648-45AA-4D71-AAE1-F3D87FCF16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032AE2F-9A7E-4F53-A2BF-EB6FE3E02F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114000000000001</c:v>
                </c:pt>
                <c:pt idx="1">
                  <c:v>18.1432</c:v>
                </c:pt>
                <c:pt idx="2">
                  <c:v>17.2226</c:v>
                </c:pt>
              </c:numCache>
            </c:numRef>
          </c:xVal>
          <c:yVal>
            <c:numRef>
              <c:f>Sheet1!$B$2:$B$4</c:f>
              <c:numCache>
                <c:formatCode>General</c:formatCode>
                <c:ptCount val="3"/>
                <c:pt idx="0">
                  <c:v>0.874</c:v>
                </c:pt>
                <c:pt idx="1">
                  <c:v>1.2450000000000001</c:v>
                </c:pt>
                <c:pt idx="2">
                  <c:v>2.2570000000000001</c:v>
                </c:pt>
              </c:numCache>
            </c:numRef>
          </c:yVal>
          <c:bubbleSize>
            <c:numRef>
              <c:f>Sheet1!$C$2:$C$4</c:f>
              <c:numCache>
                <c:formatCode>General</c:formatCode>
                <c:ptCount val="3"/>
                <c:pt idx="0">
                  <c:v>18840686</c:v>
                </c:pt>
                <c:pt idx="1">
                  <c:v>11787957</c:v>
                </c:pt>
                <c:pt idx="2">
                  <c:v>811701</c:v>
                </c:pt>
              </c:numCache>
            </c:numRef>
          </c:bubbleSize>
          <c:bubble3D val="0"/>
          <c:extLst>
            <c:ext xmlns:c15="http://schemas.microsoft.com/office/drawing/2012/chart" uri="{02D57815-91ED-43cb-92C2-25804820EDAC}">
              <c15:datalabelsRange>
                <c15:f>Sheet1!$E$2:$E$10</c15:f>
                <c15:dlblRangeCache>
                  <c:ptCount val="9"/>
                  <c:pt idx="0">
                    <c:v>Gillette</c:v>
                  </c:pt>
                  <c:pt idx="1">
                    <c:v>Schick</c:v>
                  </c:pt>
                  <c:pt idx="2">
                    <c:v>B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BAE02554-A4DA-436C-8764-6733A987D3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5245EABD-ABE1-4F57-8F12-6AC22A787D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2C427643-CDBA-4580-AE17-A8B55541B6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B4CCDE69-060A-4CE1-97ED-69C59B5865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6E0E2E77-6BDF-4DB9-AA83-6071ED6445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0FDA0138-D4DC-402D-B926-64C91BA483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3B8FC2ED-2796-4D68-8B0C-436D5F2E3F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3B84D573-18EE-4C9C-899A-3792B6C335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6.705500000000001</c:v>
                </c:pt>
                <c:pt idx="1">
                  <c:v>23.116800000000001</c:v>
                </c:pt>
                <c:pt idx="2">
                  <c:v>9.6452000000000009</c:v>
                </c:pt>
              </c:numCache>
            </c:numRef>
          </c:xVal>
          <c:yVal>
            <c:numRef>
              <c:f>Sheet1!$B$2:$B$4</c:f>
              <c:numCache>
                <c:formatCode>General</c:formatCode>
                <c:ptCount val="3"/>
                <c:pt idx="0">
                  <c:v>1.069</c:v>
                </c:pt>
                <c:pt idx="1">
                  <c:v>0.66800000000000004</c:v>
                </c:pt>
                <c:pt idx="2">
                  <c:v>0.57199999999999995</c:v>
                </c:pt>
              </c:numCache>
            </c:numRef>
          </c:yVal>
          <c:bubbleSize>
            <c:numRef>
              <c:f>Sheet1!$C$2:$C$4</c:f>
              <c:numCache>
                <c:formatCode>General</c:formatCode>
                <c:ptCount val="3"/>
                <c:pt idx="0">
                  <c:v>16065737</c:v>
                </c:pt>
                <c:pt idx="1">
                  <c:v>2025791</c:v>
                </c:pt>
                <c:pt idx="2">
                  <c:v>299</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Cremo</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9933E3E2-A52A-4E0C-98DD-C2248D50A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DE781B54-2B76-4F35-8613-B8553EF9E3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CB2D9AA9-05E6-483B-9A19-80E98B1E39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A5FDCCA5-853A-4284-A415-C1583CA368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DE72D7AB-04AF-4F06-B81E-430B0F32EB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90378327-624A-469F-BDFF-BF3BC939D2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E98BB6AB-5FF0-4323-B88D-079F693625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5515FDDB-E920-430A-BBFB-BCA7B83B4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8.664000000000001</c:v>
                </c:pt>
              </c:numCache>
            </c:numRef>
          </c:xVal>
          <c:yVal>
            <c:numRef>
              <c:f>Sheet1!$B$2:$B$2</c:f>
              <c:numCache>
                <c:formatCode>General</c:formatCode>
                <c:ptCount val="1"/>
                <c:pt idx="0">
                  <c:v>1</c:v>
                </c:pt>
              </c:numCache>
            </c:numRef>
          </c:yVal>
          <c:bubbleSize>
            <c:numRef>
              <c:f>Sheet1!$C$2:$C$2</c:f>
              <c:numCache>
                <c:formatCode>General</c:formatCode>
                <c:ptCount val="1"/>
                <c:pt idx="0">
                  <c:v>71378767</c:v>
                </c:pt>
              </c:numCache>
            </c:numRef>
          </c:bubbleSize>
          <c:bubble3D val="0"/>
          <c:extLst>
            <c:ext xmlns:c15="http://schemas.microsoft.com/office/drawing/2012/chart" uri="{02D57815-91ED-43cb-92C2-25804820EDAC}">
              <c15:datalabelsRange>
                <c15:f>Sheet1!$E$2:$E$10</c15:f>
                <c15:dlblRangeCache>
                  <c:ptCount val="9"/>
                  <c:pt idx="0">
                    <c:v>Gillett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3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C6D948C-1AF8-4F1D-9125-55F8FEC2A6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B83B8F3-31C9-40B6-A334-F4901DFA4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CCC78C7-2D06-457B-855C-24139DF1BD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FFFA617-458F-4CDE-8D88-343E2B6F0E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D0BCBCA-0D2A-4DAF-8CAE-D085417D11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7CFAB85-F4E4-4645-9F0D-BCEAC99C3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CE8786D-253B-4479-A6E3-42B5497BBA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9A64661-651E-48B7-A255-C009C01011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0.2652</c:v>
                </c:pt>
                <c:pt idx="1">
                  <c:v>5.2460000000000004</c:v>
                </c:pt>
                <c:pt idx="2">
                  <c:v>3.3515999999999999</c:v>
                </c:pt>
                <c:pt idx="3">
                  <c:v>8.3892000000000007</c:v>
                </c:pt>
              </c:numCache>
            </c:numRef>
          </c:xVal>
          <c:yVal>
            <c:numRef>
              <c:f>Sheet1!$B$2:$B$5</c:f>
              <c:numCache>
                <c:formatCode>General</c:formatCode>
                <c:ptCount val="4"/>
                <c:pt idx="0">
                  <c:v>1.3320000000000001</c:v>
                </c:pt>
                <c:pt idx="1">
                  <c:v>0.84199999999999997</c:v>
                </c:pt>
                <c:pt idx="2">
                  <c:v>0.58699999999999997</c:v>
                </c:pt>
                <c:pt idx="3">
                  <c:v>1.0640000000000001</c:v>
                </c:pt>
              </c:numCache>
            </c:numRef>
          </c:yVal>
          <c:bubbleSize>
            <c:numRef>
              <c:f>Sheet1!$C$2:$C$5</c:f>
              <c:numCache>
                <c:formatCode>General</c:formatCode>
                <c:ptCount val="4"/>
                <c:pt idx="0">
                  <c:v>87493817</c:v>
                </c:pt>
                <c:pt idx="1">
                  <c:v>29854336</c:v>
                </c:pt>
                <c:pt idx="2">
                  <c:v>24797807</c:v>
                </c:pt>
                <c:pt idx="3">
                  <c:v>19103492</c:v>
                </c:pt>
              </c:numCache>
            </c:numRef>
          </c:bubbleSize>
          <c:bubble3D val="0"/>
          <c:extLst>
            <c:ext xmlns:c15="http://schemas.microsoft.com/office/drawing/2012/chart" uri="{02D57815-91ED-43cb-92C2-25804820EDAC}">
              <c15:datalabelsRange>
                <c15:f>Sheet1!$E$2:$E$10</c15:f>
                <c15:dlblRangeCache>
                  <c:ptCount val="9"/>
                  <c:pt idx="0">
                    <c:v>Gillette</c:v>
                  </c:pt>
                  <c:pt idx="1">
                    <c:v>Bic</c:v>
                  </c:pt>
                  <c:pt idx="2">
                    <c:v>Equate</c:v>
                  </c:pt>
                  <c:pt idx="3">
                    <c:v>Schi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BA1B0BEE-D327-4EB0-AA13-7E76A5980B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01AC5DFD-F59D-4A2F-A759-1B4E9B03FB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563FBF3D-7539-4440-B6C9-FF885EFC4D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EE1C583F-7A0A-4527-B87B-5D92260989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3F986CFE-F4D6-42F5-A7B3-7A989C52E3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6556DBD6-AA13-43B5-B108-A1B1FAC7C3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6FBC174A-C718-43E8-9650-130C12BFD5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40958B55-8A06-4EBA-8B5D-64A7C34744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6.673999999999999</c:v>
                </c:pt>
                <c:pt idx="1">
                  <c:v>12.590299999999999</c:v>
                </c:pt>
                <c:pt idx="2">
                  <c:v>9.5841999999999992</c:v>
                </c:pt>
                <c:pt idx="3">
                  <c:v>8.9646000000000008</c:v>
                </c:pt>
                <c:pt idx="4">
                  <c:v>17.959800000000001</c:v>
                </c:pt>
                <c:pt idx="5">
                  <c:v>8.4400999999999993</c:v>
                </c:pt>
                <c:pt idx="6">
                  <c:v>14.8057</c:v>
                </c:pt>
              </c:numCache>
            </c:numRef>
          </c:xVal>
          <c:yVal>
            <c:numRef>
              <c:f>Sheet1!$B$2:$B$8</c:f>
              <c:numCache>
                <c:formatCode>General</c:formatCode>
                <c:ptCount val="7"/>
                <c:pt idx="0">
                  <c:v>1.105</c:v>
                </c:pt>
                <c:pt idx="1">
                  <c:v>0.90900000000000003</c:v>
                </c:pt>
                <c:pt idx="2">
                  <c:v>0.66600000000000004</c:v>
                </c:pt>
                <c:pt idx="3">
                  <c:v>0.94</c:v>
                </c:pt>
                <c:pt idx="4">
                  <c:v>0.753</c:v>
                </c:pt>
                <c:pt idx="5">
                  <c:v>0.88500000000000001</c:v>
                </c:pt>
                <c:pt idx="6">
                  <c:v>1.5509999999999999</c:v>
                </c:pt>
              </c:numCache>
            </c:numRef>
          </c:yVal>
          <c:bubbleSize>
            <c:numRef>
              <c:f>Sheet1!$C$2:$C$8</c:f>
              <c:numCache>
                <c:formatCode>General</c:formatCode>
                <c:ptCount val="7"/>
                <c:pt idx="0">
                  <c:v>71368823</c:v>
                </c:pt>
                <c:pt idx="1">
                  <c:v>22258475</c:v>
                </c:pt>
                <c:pt idx="2">
                  <c:v>5660351</c:v>
                </c:pt>
                <c:pt idx="3">
                  <c:v>5016932</c:v>
                </c:pt>
                <c:pt idx="4">
                  <c:v>3288530</c:v>
                </c:pt>
                <c:pt idx="5">
                  <c:v>2374435</c:v>
                </c:pt>
                <c:pt idx="6">
                  <c:v>89693</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Van Der Hagen</c:v>
                  </c:pt>
                  <c:pt idx="5">
                    <c:v>Equate</c:v>
                  </c:pt>
                  <c:pt idx="6">
                    <c:v>Cremo</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C5294125-500C-4B7A-A934-14C4AE5110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852F547A-D563-47BE-9B06-94B10C266C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05F5A4F3-0518-4C94-A1AD-1B64E09312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D2A83406-C9EB-418A-B655-C138A00F49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FB694AC4-92ED-4674-B32B-013B110883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C208E490-75DC-41EE-8F56-3CC925469B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4EBC996E-4AAF-4981-B2FD-EF6195F17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AF0F8265-BF21-450C-A9F8-5570D3133C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0.7758</c:v>
                </c:pt>
                <c:pt idx="1">
                  <c:v>12.6654</c:v>
                </c:pt>
                <c:pt idx="2">
                  <c:v>17.3675</c:v>
                </c:pt>
                <c:pt idx="3">
                  <c:v>11.0657</c:v>
                </c:pt>
                <c:pt idx="4">
                  <c:v>10.835800000000001</c:v>
                </c:pt>
                <c:pt idx="5">
                  <c:v>2.9802</c:v>
                </c:pt>
                <c:pt idx="6">
                  <c:v>13.5345</c:v>
                </c:pt>
              </c:numCache>
            </c:numRef>
          </c:xVal>
          <c:yVal>
            <c:numRef>
              <c:f>Sheet1!$B$2:$B$8</c:f>
              <c:numCache>
                <c:formatCode>General</c:formatCode>
                <c:ptCount val="7"/>
                <c:pt idx="0">
                  <c:v>1.3759999999999999</c:v>
                </c:pt>
                <c:pt idx="1">
                  <c:v>0.86699999999999999</c:v>
                </c:pt>
                <c:pt idx="2">
                  <c:v>0.879</c:v>
                </c:pt>
                <c:pt idx="3">
                  <c:v>0.83</c:v>
                </c:pt>
                <c:pt idx="4">
                  <c:v>0.78200000000000003</c:v>
                </c:pt>
                <c:pt idx="5">
                  <c:v>0.113</c:v>
                </c:pt>
                <c:pt idx="6">
                  <c:v>1.282</c:v>
                </c:pt>
              </c:numCache>
            </c:numRef>
          </c:yVal>
          <c:bubbleSize>
            <c:numRef>
              <c:f>Sheet1!$C$2:$C$8</c:f>
              <c:numCache>
                <c:formatCode>General</c:formatCode>
                <c:ptCount val="7"/>
                <c:pt idx="0">
                  <c:v>118612654</c:v>
                </c:pt>
                <c:pt idx="1">
                  <c:v>46786767</c:v>
                </c:pt>
                <c:pt idx="2">
                  <c:v>8886004</c:v>
                </c:pt>
                <c:pt idx="3">
                  <c:v>7744389</c:v>
                </c:pt>
                <c:pt idx="4">
                  <c:v>7538613</c:v>
                </c:pt>
                <c:pt idx="5">
                  <c:v>2597426</c:v>
                </c:pt>
                <c:pt idx="6">
                  <c:v>43202</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Equate</c:v>
                  </c:pt>
                  <c:pt idx="5">
                    <c:v>Van Der Hagen</c:v>
                  </c:pt>
                  <c:pt idx="6">
                    <c:v>Cremo</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4907AED-07A2-4069-9065-D7D8DCA356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E1534FB-1D3E-46ED-9E24-4DA7FC40B6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CE6BE5A-784C-46DE-A57B-7B3D869E73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0982D20-85C8-41B9-9960-44A9080C3F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43BE146-FEF1-4BB0-8506-E0B3EBA0A5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C06524A-9D81-4D22-8DF2-4ECDE9A563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C1F9D57-683C-4B31-8C57-96C996DBA8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07A74C1-0B26-48AF-B98E-0A1F21BE32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6.812899999999999</c:v>
                </c:pt>
                <c:pt idx="1">
                  <c:v>12.4175</c:v>
                </c:pt>
                <c:pt idx="2">
                  <c:v>6.0914999999999999</c:v>
                </c:pt>
                <c:pt idx="3">
                  <c:v>10.7544</c:v>
                </c:pt>
                <c:pt idx="4">
                  <c:v>4.9539</c:v>
                </c:pt>
                <c:pt idx="5">
                  <c:v>4.1436000000000002</c:v>
                </c:pt>
                <c:pt idx="6">
                  <c:v>9.5934000000000008</c:v>
                </c:pt>
                <c:pt idx="7">
                  <c:v>13.051500000000001</c:v>
                </c:pt>
              </c:numCache>
            </c:numRef>
          </c:xVal>
          <c:yVal>
            <c:numRef>
              <c:f>Sheet1!$B$2:$B$9</c:f>
              <c:numCache>
                <c:formatCode>General</c:formatCode>
                <c:ptCount val="8"/>
                <c:pt idx="0">
                  <c:v>1.321</c:v>
                </c:pt>
                <c:pt idx="1">
                  <c:v>1.44</c:v>
                </c:pt>
                <c:pt idx="2">
                  <c:v>0.55300000000000005</c:v>
                </c:pt>
                <c:pt idx="3">
                  <c:v>0.77100000000000002</c:v>
                </c:pt>
                <c:pt idx="4">
                  <c:v>0.46200000000000002</c:v>
                </c:pt>
                <c:pt idx="5">
                  <c:v>0.36899999999999999</c:v>
                </c:pt>
                <c:pt idx="6">
                  <c:v>1.512</c:v>
                </c:pt>
                <c:pt idx="7">
                  <c:v>2.0129999999999999</c:v>
                </c:pt>
              </c:numCache>
            </c:numRef>
          </c:yVal>
          <c:bubbleSize>
            <c:numRef>
              <c:f>Sheet1!$C$2:$C$9</c:f>
              <c:numCache>
                <c:formatCode>General</c:formatCode>
                <c:ptCount val="8"/>
                <c:pt idx="0">
                  <c:v>972086869</c:v>
                </c:pt>
                <c:pt idx="1">
                  <c:v>184811438</c:v>
                </c:pt>
                <c:pt idx="2">
                  <c:v>126968743</c:v>
                </c:pt>
                <c:pt idx="3">
                  <c:v>114853020</c:v>
                </c:pt>
                <c:pt idx="4">
                  <c:v>36884480</c:v>
                </c:pt>
                <c:pt idx="5">
                  <c:v>35079369</c:v>
                </c:pt>
                <c:pt idx="6">
                  <c:v>31033081</c:v>
                </c:pt>
                <c:pt idx="7">
                  <c:v>179135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Schick</c:v>
                  </c:pt>
                  <c:pt idx="4">
                    <c:v>Pbg Pl</c:v>
                  </c:pt>
                  <c:pt idx="5">
                    <c:v>Equate</c:v>
                  </c:pt>
                  <c:pt idx="6">
                    <c:v>Dollar Shave Club</c:v>
                  </c:pt>
                  <c:pt idx="7">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AFF1142-6B69-4408-B6F4-E23D0F2EA6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EB5E716-6720-468E-B13F-FD41805D5D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DC9DD6E-1019-4F50-875E-9F68906434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7471DB3-B7C6-4EC0-A3E3-966BE81D03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6F9020C-DD5B-49AB-A503-91FC4134B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7EE587F-E13E-4BC8-B5E0-B7FBECEBCA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02B1F44-C663-4A53-AAF4-CBB1C31BE4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0D0F860-69C2-4BA0-A9A0-C82DFF9A6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6.530799999999999</c:v>
                </c:pt>
                <c:pt idx="1">
                  <c:v>18.1432</c:v>
                </c:pt>
                <c:pt idx="2">
                  <c:v>23.116800000000001</c:v>
                </c:pt>
                <c:pt idx="3">
                  <c:v>9.6452000000000009</c:v>
                </c:pt>
              </c:numCache>
            </c:numRef>
          </c:xVal>
          <c:yVal>
            <c:numRef>
              <c:f>Sheet1!$B$2:$B$5</c:f>
              <c:numCache>
                <c:formatCode>General</c:formatCode>
                <c:ptCount val="4"/>
                <c:pt idx="0">
                  <c:v>1.075</c:v>
                </c:pt>
                <c:pt idx="1">
                  <c:v>0.6</c:v>
                </c:pt>
                <c:pt idx="2">
                  <c:v>1.391</c:v>
                </c:pt>
                <c:pt idx="3">
                  <c:v>1.1919999999999999</c:v>
                </c:pt>
              </c:numCache>
            </c:numRef>
          </c:yVal>
          <c:bubbleSize>
            <c:numRef>
              <c:f>Sheet1!$C$2:$C$5</c:f>
              <c:numCache>
                <c:formatCode>General</c:formatCode>
                <c:ptCount val="4"/>
                <c:pt idx="0">
                  <c:v>106285190</c:v>
                </c:pt>
                <c:pt idx="1">
                  <c:v>11787957</c:v>
                </c:pt>
                <c:pt idx="2">
                  <c:v>2025791</c:v>
                </c:pt>
                <c:pt idx="3">
                  <c:v>299</c:v>
                </c:pt>
              </c:numCache>
            </c:numRef>
          </c:bubbleSize>
          <c:bubble3D val="0"/>
          <c:extLst>
            <c:ext xmlns:c15="http://schemas.microsoft.com/office/drawing/2012/chart" uri="{02D57815-91ED-43cb-92C2-25804820EDAC}">
              <c15:datalabelsRange>
                <c15:f>Sheet1!$E$2:$E$10</c15:f>
                <c15:dlblRangeCache>
                  <c:ptCount val="9"/>
                  <c:pt idx="0">
                    <c:v>Gillette</c:v>
                  </c:pt>
                  <c:pt idx="1">
                    <c:v>Schick</c:v>
                  </c:pt>
                  <c:pt idx="2">
                    <c:v>Harry's</c:v>
                  </c:pt>
                  <c:pt idx="3">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C1DFFEC-5585-4776-A9A3-093032CA0F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50705BE-18EA-4473-A9FD-713EFC69D6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8876A4C-F88A-4FE7-B77D-79500EDBCC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E7EB985-E2CC-4E64-BA43-82FEC7DAAB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000CE4E-7E59-4DC1-A8B1-4517B6D392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46C8B7B-C7A6-432A-9DAB-D09FB7783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AD2AC29-498F-4247-9B1B-2BABC888DE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6AD2718-F092-4C26-AD66-4F0FD920CA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6.530799999999999</c:v>
                </c:pt>
                <c:pt idx="1">
                  <c:v>18.1432</c:v>
                </c:pt>
                <c:pt idx="2">
                  <c:v>23.116800000000001</c:v>
                </c:pt>
                <c:pt idx="3">
                  <c:v>9.6452000000000009</c:v>
                </c:pt>
              </c:numCache>
            </c:numRef>
          </c:xVal>
          <c:yVal>
            <c:numRef>
              <c:f>Sheet1!$B$2:$B$5</c:f>
              <c:numCache>
                <c:formatCode>General</c:formatCode>
                <c:ptCount val="4"/>
                <c:pt idx="0">
                  <c:v>1.075</c:v>
                </c:pt>
                <c:pt idx="1">
                  <c:v>0.6</c:v>
                </c:pt>
                <c:pt idx="2">
                  <c:v>1.391</c:v>
                </c:pt>
                <c:pt idx="3">
                  <c:v>1.1919999999999999</c:v>
                </c:pt>
              </c:numCache>
            </c:numRef>
          </c:yVal>
          <c:bubbleSize>
            <c:numRef>
              <c:f>Sheet1!$C$2:$C$5</c:f>
              <c:numCache>
                <c:formatCode>General</c:formatCode>
                <c:ptCount val="4"/>
                <c:pt idx="0">
                  <c:v>106285190</c:v>
                </c:pt>
                <c:pt idx="1">
                  <c:v>11787957</c:v>
                </c:pt>
                <c:pt idx="2">
                  <c:v>2025791</c:v>
                </c:pt>
                <c:pt idx="3">
                  <c:v>299</c:v>
                </c:pt>
              </c:numCache>
            </c:numRef>
          </c:bubbleSize>
          <c:bubble3D val="0"/>
          <c:extLst>
            <c:ext xmlns:c15="http://schemas.microsoft.com/office/drawing/2012/chart" uri="{02D57815-91ED-43cb-92C2-25804820EDAC}">
              <c15:datalabelsRange>
                <c15:f>Sheet1!$E$2:$E$10</c15:f>
                <c15:dlblRangeCache>
                  <c:ptCount val="9"/>
                  <c:pt idx="0">
                    <c:v>Gillette</c:v>
                  </c:pt>
                  <c:pt idx="1">
                    <c:v>Schick</c:v>
                  </c:pt>
                  <c:pt idx="2">
                    <c:v>Harry's</c:v>
                  </c:pt>
                  <c:pt idx="3">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EBE582A-C878-4D54-BCA0-8F10C53702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02123FF-ED60-4BF0-BD07-DCF4FFC583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0977D3E-D261-40BC-9198-08DD198A8A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3D377A7-CD99-4184-8700-1D43E74CB2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E46D533-EFB2-48C7-8D02-937D83F5C7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C43FBA1-6AC8-4473-9903-14AB82318D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4671FCE-8289-4388-A6F8-73F4800295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887CB14-C63E-47A4-8D8F-0C16D6551C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988200000000001</c:v>
                </c:pt>
                <c:pt idx="1">
                  <c:v>12.557499999999999</c:v>
                </c:pt>
                <c:pt idx="2">
                  <c:v>6.3808999999999996</c:v>
                </c:pt>
                <c:pt idx="3">
                  <c:v>4.1441999999999997</c:v>
                </c:pt>
                <c:pt idx="4">
                  <c:v>9.9571000000000005</c:v>
                </c:pt>
                <c:pt idx="5">
                  <c:v>10.132099999999999</c:v>
                </c:pt>
                <c:pt idx="6">
                  <c:v>5.5808999999999997</c:v>
                </c:pt>
                <c:pt idx="7">
                  <c:v>14.367000000000001</c:v>
                </c:pt>
              </c:numCache>
            </c:numRef>
          </c:xVal>
          <c:yVal>
            <c:numRef>
              <c:f>Sheet1!$B$2:$B$9</c:f>
              <c:numCache>
                <c:formatCode>General</c:formatCode>
                <c:ptCount val="8"/>
                <c:pt idx="0">
                  <c:v>1.401</c:v>
                </c:pt>
                <c:pt idx="1">
                  <c:v>1.5780000000000001</c:v>
                </c:pt>
                <c:pt idx="2">
                  <c:v>0.58099999999999996</c:v>
                </c:pt>
                <c:pt idx="3">
                  <c:v>0.41199999999999998</c:v>
                </c:pt>
                <c:pt idx="4">
                  <c:v>0.79600000000000004</c:v>
                </c:pt>
                <c:pt idx="5">
                  <c:v>1.6180000000000001</c:v>
                </c:pt>
                <c:pt idx="6">
                  <c:v>0.36099999999999999</c:v>
                </c:pt>
                <c:pt idx="7">
                  <c:v>3.1509999999999998</c:v>
                </c:pt>
              </c:numCache>
            </c:numRef>
          </c:yVal>
          <c:bubbleSize>
            <c:numRef>
              <c:f>Sheet1!$C$2:$C$9</c:f>
              <c:numCache>
                <c:formatCode>General</c:formatCode>
                <c:ptCount val="8"/>
                <c:pt idx="0">
                  <c:v>277475644</c:v>
                </c:pt>
                <c:pt idx="1">
                  <c:v>69574516</c:v>
                </c:pt>
                <c:pt idx="2">
                  <c:v>51844614</c:v>
                </c:pt>
                <c:pt idx="3">
                  <c:v>34710855</c:v>
                </c:pt>
                <c:pt idx="4">
                  <c:v>33650553</c:v>
                </c:pt>
                <c:pt idx="5">
                  <c:v>12761321</c:v>
                </c:pt>
                <c:pt idx="6">
                  <c:v>5885956</c:v>
                </c:pt>
                <c:pt idx="7">
                  <c:v>13289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Equate</c:v>
                  </c:pt>
                  <c:pt idx="4">
                    <c:v>Schick</c:v>
                  </c:pt>
                  <c:pt idx="5">
                    <c:v>Dollar Shave Club</c:v>
                  </c:pt>
                  <c:pt idx="6">
                    <c:v>Van Der Hagen</c:v>
                  </c:pt>
                  <c:pt idx="7">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300F7BC-DD7D-4B8A-8DDA-F570BDFFED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82F7AFE-9369-44B5-977E-0C55308445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CBF9315-0E8D-42A2-A794-E2E1315217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B23EBBE-646B-4B4B-98E0-B4D903EBE0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0FD4A5E-93D5-4104-814E-84F4890D4F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5F14F48-0C90-4AB6-9ACF-8A6978DE9F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7C5D58A-67CD-4EB1-BC06-3F6544B1BC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6E92A6E-2B8E-4CEF-A06D-BF454BD48F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1692</c:v>
                </c:pt>
                <c:pt idx="1">
                  <c:v>12.6136</c:v>
                </c:pt>
                <c:pt idx="2">
                  <c:v>13.9156</c:v>
                </c:pt>
                <c:pt idx="3">
                  <c:v>8.3641000000000005</c:v>
                </c:pt>
                <c:pt idx="4">
                  <c:v>9.5934000000000008</c:v>
                </c:pt>
                <c:pt idx="5">
                  <c:v>7.7123999999999997</c:v>
                </c:pt>
                <c:pt idx="6">
                  <c:v>10.1455</c:v>
                </c:pt>
                <c:pt idx="7">
                  <c:v>13.051500000000001</c:v>
                </c:pt>
              </c:numCache>
            </c:numRef>
          </c:xVal>
          <c:yVal>
            <c:numRef>
              <c:f>Sheet1!$B$2:$B$9</c:f>
              <c:numCache>
                <c:formatCode>General</c:formatCode>
                <c:ptCount val="8"/>
                <c:pt idx="0">
                  <c:v>1.262</c:v>
                </c:pt>
                <c:pt idx="1">
                  <c:v>0.90200000000000002</c:v>
                </c:pt>
                <c:pt idx="2">
                  <c:v>0.83599999999999997</c:v>
                </c:pt>
                <c:pt idx="3">
                  <c:v>0.505</c:v>
                </c:pt>
                <c:pt idx="4">
                  <c:v>0.93100000000000005</c:v>
                </c:pt>
                <c:pt idx="5">
                  <c:v>0.51700000000000002</c:v>
                </c:pt>
                <c:pt idx="6">
                  <c:v>0.76300000000000001</c:v>
                </c:pt>
                <c:pt idx="7">
                  <c:v>1.2390000000000001</c:v>
                </c:pt>
              </c:numCache>
            </c:numRef>
          </c:yVal>
          <c:bubbleSize>
            <c:numRef>
              <c:f>Sheet1!$C$2:$C$9</c:f>
              <c:numCache>
                <c:formatCode>General</c:formatCode>
                <c:ptCount val="8"/>
                <c:pt idx="0">
                  <c:v>723373212</c:v>
                </c:pt>
                <c:pt idx="1">
                  <c:v>182395509</c:v>
                </c:pt>
                <c:pt idx="2">
                  <c:v>49393325</c:v>
                </c:pt>
                <c:pt idx="3">
                  <c:v>40496317</c:v>
                </c:pt>
                <c:pt idx="4">
                  <c:v>31033081</c:v>
                </c:pt>
                <c:pt idx="5">
                  <c:v>13626941</c:v>
                </c:pt>
                <c:pt idx="6">
                  <c:v>10019159</c:v>
                </c:pt>
                <c:pt idx="7">
                  <c:v>179135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Bic</c:v>
                  </c:pt>
                  <c:pt idx="4">
                    <c:v>Dollar Shave Club</c:v>
                  </c:pt>
                  <c:pt idx="5">
                    <c:v>Pbg Pl</c:v>
                  </c:pt>
                  <c:pt idx="6">
                    <c:v>Equate</c:v>
                  </c:pt>
                  <c:pt idx="7">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4DDE46E-81E4-46C5-9326-B7FD54A8D4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21FADE6-D7B9-491F-85DE-A81FE65794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556ECAE-DCB6-4208-B57D-C84BD03386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9D6871C-3686-4D11-9377-DA6BDE98BF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17B756A-AD7C-422C-9719-189E69C1C4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216C86A-34CF-4973-8884-456CCEF20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2FDEC98-E625-47E6-BD11-39F9BB6F3D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8C1A805-1F42-4494-BDD4-CBA412FA70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8.288699999999999</c:v>
                </c:pt>
                <c:pt idx="1">
                  <c:v>23.116800000000001</c:v>
                </c:pt>
                <c:pt idx="2">
                  <c:v>9.6452000000000009</c:v>
                </c:pt>
              </c:numCache>
            </c:numRef>
          </c:xVal>
          <c:yVal>
            <c:numRef>
              <c:f>Sheet1!$B$2:$B$4</c:f>
              <c:numCache>
                <c:formatCode>General</c:formatCode>
                <c:ptCount val="3"/>
                <c:pt idx="0">
                  <c:v>1.004</c:v>
                </c:pt>
                <c:pt idx="1">
                  <c:v>0.86499999999999999</c:v>
                </c:pt>
                <c:pt idx="2">
                  <c:v>0.74099999999999999</c:v>
                </c:pt>
              </c:numCache>
            </c:numRef>
          </c:yVal>
          <c:bubbleSize>
            <c:numRef>
              <c:f>Sheet1!$C$2:$C$4</c:f>
              <c:numCache>
                <c:formatCode>General</c:formatCode>
                <c:ptCount val="3"/>
                <c:pt idx="0">
                  <c:v>87444504</c:v>
                </c:pt>
                <c:pt idx="1">
                  <c:v>2025791</c:v>
                </c:pt>
                <c:pt idx="2">
                  <c:v>299</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95BD18B-5A50-4684-8117-DAC501529E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EA4E605-28CE-42BD-ADAF-8D7A311634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D38A82A-85FF-404F-9CAC-999AFEEE35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24C54BD-64DA-4102-9D5C-244989C0D4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26B959B-46B9-42AC-8DE9-01E5E52C1D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84E6FFC-79C2-4B84-86E8-C8B6B861A8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1135228-7F10-467E-A530-E5E056D0A6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CEE0399-B2AE-441B-81AD-126E7B7640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9.018000000000001</c:v>
                </c:pt>
                <c:pt idx="1">
                  <c:v>12.6411</c:v>
                </c:pt>
                <c:pt idx="2">
                  <c:v>9.0344999999999995</c:v>
                </c:pt>
                <c:pt idx="3">
                  <c:v>13.195600000000001</c:v>
                </c:pt>
                <c:pt idx="4">
                  <c:v>10.132099999999999</c:v>
                </c:pt>
                <c:pt idx="5">
                  <c:v>10.146000000000001</c:v>
                </c:pt>
                <c:pt idx="6">
                  <c:v>5.5808999999999997</c:v>
                </c:pt>
                <c:pt idx="7">
                  <c:v>14.367000000000001</c:v>
                </c:pt>
              </c:numCache>
            </c:numRef>
          </c:xVal>
          <c:yVal>
            <c:numRef>
              <c:f>Sheet1!$B$2:$B$9</c:f>
              <c:numCache>
                <c:formatCode>General</c:formatCode>
                <c:ptCount val="8"/>
                <c:pt idx="0">
                  <c:v>1.446</c:v>
                </c:pt>
                <c:pt idx="1">
                  <c:v>0.94899999999999995</c:v>
                </c:pt>
                <c:pt idx="2">
                  <c:v>0.53100000000000003</c:v>
                </c:pt>
                <c:pt idx="3">
                  <c:v>0.91200000000000003</c:v>
                </c:pt>
                <c:pt idx="4">
                  <c:v>0.96399999999999997</c:v>
                </c:pt>
                <c:pt idx="5">
                  <c:v>0.82699999999999996</c:v>
                </c:pt>
                <c:pt idx="6">
                  <c:v>0.215</c:v>
                </c:pt>
                <c:pt idx="7">
                  <c:v>1.8779999999999999</c:v>
                </c:pt>
              </c:numCache>
            </c:numRef>
          </c:yVal>
          <c:bubbleSize>
            <c:numRef>
              <c:f>Sheet1!$C$2:$C$9</c:f>
              <c:numCache>
                <c:formatCode>General</c:formatCode>
                <c:ptCount val="8"/>
                <c:pt idx="0">
                  <c:v>189981827</c:v>
                </c:pt>
                <c:pt idx="1">
                  <c:v>69045242</c:v>
                </c:pt>
                <c:pt idx="2">
                  <c:v>21990278</c:v>
                </c:pt>
                <c:pt idx="3">
                  <c:v>14547061</c:v>
                </c:pt>
                <c:pt idx="4">
                  <c:v>12761321</c:v>
                </c:pt>
                <c:pt idx="5">
                  <c:v>9913048</c:v>
                </c:pt>
                <c:pt idx="6">
                  <c:v>5885956</c:v>
                </c:pt>
                <c:pt idx="7">
                  <c:v>13289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Schick</c:v>
                  </c:pt>
                  <c:pt idx="4">
                    <c:v>Dollar Shave Club</c:v>
                  </c:pt>
                  <c:pt idx="5">
                    <c:v>Equate</c:v>
                  </c:pt>
                  <c:pt idx="6">
                    <c:v>Van Der Hagen</c:v>
                  </c:pt>
                  <c:pt idx="7">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C5FB159-DDA5-4F84-A3CB-7F984FA15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43F644-2E4D-427B-B493-B05CCF55E8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562E83A-CA3F-409A-9D44-0719899C96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E18DAB0-9CC1-4761-BB43-173F3C6F3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97755DD-0BF5-49F0-8200-83C060606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13C6E8B-46DA-4F83-A85A-A69D1CB3B2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8F73812-787C-44FE-8396-CD9996E601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BCD4268-9B89-4537-AD8A-921EB23DF4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0.517799999999999</c:v>
                </c:pt>
                <c:pt idx="1">
                  <c:v>5.4038000000000004</c:v>
                </c:pt>
                <c:pt idx="2">
                  <c:v>9.1806999999999999</c:v>
                </c:pt>
                <c:pt idx="3">
                  <c:v>3.3511000000000002</c:v>
                </c:pt>
                <c:pt idx="4">
                  <c:v>4.0956000000000001</c:v>
                </c:pt>
                <c:pt idx="5">
                  <c:v>2.5627</c:v>
                </c:pt>
              </c:numCache>
            </c:numRef>
          </c:xVal>
          <c:yVal>
            <c:numRef>
              <c:f>Sheet1!$B$2:$B$7</c:f>
              <c:numCache>
                <c:formatCode>General</c:formatCode>
                <c:ptCount val="6"/>
                <c:pt idx="0">
                  <c:v>1.2330000000000001</c:v>
                </c:pt>
                <c:pt idx="1">
                  <c:v>0.91200000000000003</c:v>
                </c:pt>
                <c:pt idx="2">
                  <c:v>1.1040000000000001</c:v>
                </c:pt>
                <c:pt idx="3">
                  <c:v>0.54700000000000004</c:v>
                </c:pt>
                <c:pt idx="4">
                  <c:v>0.69399999999999995</c:v>
                </c:pt>
                <c:pt idx="5">
                  <c:v>0.34899999999999998</c:v>
                </c:pt>
              </c:numCache>
            </c:numRef>
          </c:yVal>
          <c:bubbleSize>
            <c:numRef>
              <c:f>Sheet1!$C$2:$C$7</c:f>
              <c:numCache>
                <c:formatCode>General</c:formatCode>
                <c:ptCount val="6"/>
                <c:pt idx="0">
                  <c:v>248713657</c:v>
                </c:pt>
                <c:pt idx="1">
                  <c:v>86472426</c:v>
                </c:pt>
                <c:pt idx="2">
                  <c:v>65459695</c:v>
                </c:pt>
                <c:pt idx="3">
                  <c:v>25060210</c:v>
                </c:pt>
                <c:pt idx="4">
                  <c:v>23257539</c:v>
                </c:pt>
                <c:pt idx="5">
                  <c:v>8075661</c:v>
                </c:pt>
              </c:numCache>
            </c:numRef>
          </c:bubbleSize>
          <c:bubble3D val="0"/>
          <c:extLst>
            <c:ext xmlns:c15="http://schemas.microsoft.com/office/drawing/2012/chart" uri="{02D57815-91ED-43cb-92C2-25804820EDAC}">
              <c15:datalabelsRange>
                <c15:f>Sheet1!$E$2:$E$10</c15:f>
                <c15:dlblRangeCache>
                  <c:ptCount val="9"/>
                  <c:pt idx="0">
                    <c:v>Gillette</c:v>
                  </c:pt>
                  <c:pt idx="1">
                    <c:v>Bic</c:v>
                  </c:pt>
                  <c:pt idx="2">
                    <c:v>Schick</c:v>
                  </c:pt>
                  <c:pt idx="3">
                    <c:v>Equate</c:v>
                  </c:pt>
                  <c:pt idx="4">
                    <c:v>Pbg Pl</c:v>
                  </c:pt>
                  <c:pt idx="5">
                    <c:v>Private La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2D897C5-1151-4C2C-BB4C-C769D57676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AF30B56-837E-4F33-A630-5DD5D03732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D45B88B-5F7E-4261-9190-33051A1B83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B27019C-AC21-4922-8356-966A25AB5B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4F32B54-F5AE-4FCC-B715-2206660CC1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8603E4F-361A-4308-BB16-3157908DFA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AD8F423-576D-412B-B461-1CF01B45A1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8AA53EB-C492-4A8B-B099-C4D02D37D9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114000000000001</c:v>
                </c:pt>
                <c:pt idx="1">
                  <c:v>18.1432</c:v>
                </c:pt>
                <c:pt idx="2">
                  <c:v>17.2226</c:v>
                </c:pt>
              </c:numCache>
            </c:numRef>
          </c:xVal>
          <c:yVal>
            <c:numRef>
              <c:f>Sheet1!$B$2:$B$4</c:f>
              <c:numCache>
                <c:formatCode>General</c:formatCode>
                <c:ptCount val="3"/>
                <c:pt idx="0">
                  <c:v>0.874</c:v>
                </c:pt>
                <c:pt idx="1">
                  <c:v>1.2450000000000001</c:v>
                </c:pt>
                <c:pt idx="2">
                  <c:v>2.2570000000000001</c:v>
                </c:pt>
              </c:numCache>
            </c:numRef>
          </c:yVal>
          <c:bubbleSize>
            <c:numRef>
              <c:f>Sheet1!$C$2:$C$4</c:f>
              <c:numCache>
                <c:formatCode>General</c:formatCode>
                <c:ptCount val="3"/>
                <c:pt idx="0">
                  <c:v>18840686</c:v>
                </c:pt>
                <c:pt idx="1">
                  <c:v>11787957</c:v>
                </c:pt>
                <c:pt idx="2">
                  <c:v>811701</c:v>
                </c:pt>
              </c:numCache>
            </c:numRef>
          </c:bubbleSize>
          <c:bubble3D val="0"/>
          <c:extLst>
            <c:ext xmlns:c15="http://schemas.microsoft.com/office/drawing/2012/chart" uri="{02D57815-91ED-43cb-92C2-25804820EDAC}">
              <c15:datalabelsRange>
                <c15:f>Sheet1!$E$2:$E$10</c15:f>
                <c15:dlblRangeCache>
                  <c:ptCount val="9"/>
                  <c:pt idx="0">
                    <c:v>Gillette</c:v>
                  </c:pt>
                  <c:pt idx="1">
                    <c:v>Schick</c:v>
                  </c:pt>
                  <c:pt idx="2">
                    <c:v>B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65EACE-A9ED-445F-9951-995CB13CCC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8CBBD3C-BEC8-41D0-A7FB-9E4A78DF3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F15E3F9-A146-4460-B3DD-61C6D2425E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B4D2E71-AF62-4D54-8AEF-2FC26F1E11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AB109B3-D49C-481B-BAAE-A34CC60764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2728880-75C9-4661-84FA-4CFEE9AB9A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34C8EA7-73B6-4D10-941B-CF301083CE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B0D0106-9B16-48CE-B599-7BE79E1BC9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0.2652</c:v>
                </c:pt>
                <c:pt idx="1">
                  <c:v>5.2460000000000004</c:v>
                </c:pt>
                <c:pt idx="2">
                  <c:v>3.3515999999999999</c:v>
                </c:pt>
                <c:pt idx="3">
                  <c:v>8.3892000000000007</c:v>
                </c:pt>
              </c:numCache>
            </c:numRef>
          </c:xVal>
          <c:yVal>
            <c:numRef>
              <c:f>Sheet1!$B$2:$B$5</c:f>
              <c:numCache>
                <c:formatCode>General</c:formatCode>
                <c:ptCount val="4"/>
                <c:pt idx="0">
                  <c:v>1.3320000000000001</c:v>
                </c:pt>
                <c:pt idx="1">
                  <c:v>0.84199999999999997</c:v>
                </c:pt>
                <c:pt idx="2">
                  <c:v>0.58699999999999997</c:v>
                </c:pt>
                <c:pt idx="3">
                  <c:v>1.0640000000000001</c:v>
                </c:pt>
              </c:numCache>
            </c:numRef>
          </c:yVal>
          <c:bubbleSize>
            <c:numRef>
              <c:f>Sheet1!$C$2:$C$5</c:f>
              <c:numCache>
                <c:formatCode>General</c:formatCode>
                <c:ptCount val="4"/>
                <c:pt idx="0">
                  <c:v>87493817</c:v>
                </c:pt>
                <c:pt idx="1">
                  <c:v>29854336</c:v>
                </c:pt>
                <c:pt idx="2">
                  <c:v>24797807</c:v>
                </c:pt>
                <c:pt idx="3">
                  <c:v>19103492</c:v>
                </c:pt>
              </c:numCache>
            </c:numRef>
          </c:bubbleSize>
          <c:bubble3D val="0"/>
          <c:extLst>
            <c:ext xmlns:c15="http://schemas.microsoft.com/office/drawing/2012/chart" uri="{02D57815-91ED-43cb-92C2-25804820EDAC}">
              <c15:datalabelsRange>
                <c15:f>Sheet1!$E$2:$E$10</c15:f>
                <c15:dlblRangeCache>
                  <c:ptCount val="9"/>
                  <c:pt idx="0">
                    <c:v>Gillette</c:v>
                  </c:pt>
                  <c:pt idx="1">
                    <c:v>Bic</c:v>
                  </c:pt>
                  <c:pt idx="2">
                    <c:v>Equate</c:v>
                  </c:pt>
                  <c:pt idx="3">
                    <c:v>Schi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91B50AE-6E26-499B-BDD6-56E03F3B2D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3AA53D8-BA54-4FA8-B69C-CBE3A3AB4B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7F5C9E6-7D50-4F60-9E77-6DE1EC59A6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765996C-652E-4F7F-BC6D-FB6FE5D7D8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3DAC4A2-C3D9-4545-9FDD-887DF41E63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FD3B9A7-9665-4A58-82DF-F8846E898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B7CFD88-F5DA-477D-8057-3498E6D471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3E20F59-BDB2-4F17-B391-3B90DD2AA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6.314499999999999</c:v>
                </c:pt>
                <c:pt idx="1">
                  <c:v>12.489800000000001</c:v>
                </c:pt>
                <c:pt idx="2">
                  <c:v>10.9337</c:v>
                </c:pt>
                <c:pt idx="3">
                  <c:v>9.1037999999999997</c:v>
                </c:pt>
                <c:pt idx="4">
                  <c:v>18.031400000000001</c:v>
                </c:pt>
                <c:pt idx="5">
                  <c:v>8.3902999999999999</c:v>
                </c:pt>
                <c:pt idx="6">
                  <c:v>8.4393999999999991</c:v>
                </c:pt>
                <c:pt idx="7">
                  <c:v>13.600300000000001</c:v>
                </c:pt>
              </c:numCache>
            </c:numRef>
          </c:xVal>
          <c:yVal>
            <c:numRef>
              <c:f>Sheet1!$B$2:$B$9</c:f>
              <c:numCache>
                <c:formatCode>General</c:formatCode>
                <c:ptCount val="8"/>
                <c:pt idx="0">
                  <c:v>1.157</c:v>
                </c:pt>
                <c:pt idx="1">
                  <c:v>0.86799999999999999</c:v>
                </c:pt>
                <c:pt idx="2">
                  <c:v>0.63200000000000001</c:v>
                </c:pt>
                <c:pt idx="3">
                  <c:v>0.91400000000000003</c:v>
                </c:pt>
                <c:pt idx="4">
                  <c:v>0.73899999999999999</c:v>
                </c:pt>
                <c:pt idx="5">
                  <c:v>0.65200000000000002</c:v>
                </c:pt>
                <c:pt idx="6">
                  <c:v>0.84799999999999998</c:v>
                </c:pt>
                <c:pt idx="7">
                  <c:v>1.1040000000000001</c:v>
                </c:pt>
              </c:numCache>
            </c:numRef>
          </c:yVal>
          <c:bubbleSize>
            <c:numRef>
              <c:f>Sheet1!$C$2:$C$9</c:f>
              <c:numCache>
                <c:formatCode>General</c:formatCode>
                <c:ptCount val="8"/>
                <c:pt idx="0">
                  <c:v>217880579</c:v>
                </c:pt>
                <c:pt idx="1">
                  <c:v>65466766</c:v>
                </c:pt>
                <c:pt idx="2">
                  <c:v>20499734</c:v>
                </c:pt>
                <c:pt idx="3">
                  <c:v>13711128</c:v>
                </c:pt>
                <c:pt idx="4">
                  <c:v>6491139</c:v>
                </c:pt>
                <c:pt idx="5">
                  <c:v>3855524</c:v>
                </c:pt>
                <c:pt idx="6">
                  <c:v>2400107</c:v>
                </c:pt>
                <c:pt idx="7">
                  <c:v>700989</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Van Der Hagen</c:v>
                  </c:pt>
                  <c:pt idx="5">
                    <c:v>Pbg Pl</c:v>
                  </c:pt>
                  <c:pt idx="6">
                    <c:v>Equate</c:v>
                  </c:pt>
                  <c:pt idx="7">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D017B6-8B42-480C-859D-C67D704CA9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B051319-D037-4EC4-8C4F-1E73A8D6AB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0E228DA-3DC9-4E92-8549-EBB9A6DC40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FBEC694-1905-4605-87CE-51702576D4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2EDFE82-92C3-4765-917C-56844476D0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C529CAC-9AFB-4522-B0C8-FA3B4EC8BE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D834334-AE5A-4B58-80C9-633FF779A7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B03FF0E-F1CB-48DC-8A47-486DEC9B35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6.705500000000001</c:v>
                </c:pt>
                <c:pt idx="1">
                  <c:v>23.116800000000001</c:v>
                </c:pt>
                <c:pt idx="2">
                  <c:v>9.6452000000000009</c:v>
                </c:pt>
              </c:numCache>
            </c:numRef>
          </c:xVal>
          <c:yVal>
            <c:numRef>
              <c:f>Sheet1!$B$2:$B$4</c:f>
              <c:numCache>
                <c:formatCode>General</c:formatCode>
                <c:ptCount val="3"/>
                <c:pt idx="0">
                  <c:v>1.069</c:v>
                </c:pt>
                <c:pt idx="1">
                  <c:v>0.66800000000000004</c:v>
                </c:pt>
                <c:pt idx="2">
                  <c:v>0.57199999999999995</c:v>
                </c:pt>
              </c:numCache>
            </c:numRef>
          </c:yVal>
          <c:bubbleSize>
            <c:numRef>
              <c:f>Sheet1!$C$2:$C$4</c:f>
              <c:numCache>
                <c:formatCode>General</c:formatCode>
                <c:ptCount val="3"/>
                <c:pt idx="0">
                  <c:v>16065737</c:v>
                </c:pt>
                <c:pt idx="1">
                  <c:v>2025791</c:v>
                </c:pt>
                <c:pt idx="2">
                  <c:v>299</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E935DF4-C0CC-4B24-B492-B7462BF846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4670623-5C36-4A7B-9341-408C62CC11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DD6ED1A-4DA1-4FBC-A560-02F596E594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F93DD58-E54A-4870-87F0-1C99EAA853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6AD601-7377-42B8-927A-96BF637182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FE12A37-C061-4991-A0CC-38B42C1027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CEA4741-9890-4336-AFAC-579D72C2E6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76BA50E-E1A7-4B05-A448-B37D76E8DF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988200000000001</c:v>
                </c:pt>
                <c:pt idx="1">
                  <c:v>12.557499999999999</c:v>
                </c:pt>
                <c:pt idx="2">
                  <c:v>6.3808999999999996</c:v>
                </c:pt>
                <c:pt idx="3">
                  <c:v>4.1441999999999997</c:v>
                </c:pt>
                <c:pt idx="4">
                  <c:v>9.9571000000000005</c:v>
                </c:pt>
                <c:pt idx="5">
                  <c:v>10.132099999999999</c:v>
                </c:pt>
                <c:pt idx="6">
                  <c:v>5.5808999999999997</c:v>
                </c:pt>
                <c:pt idx="7">
                  <c:v>14.367000000000001</c:v>
                </c:pt>
              </c:numCache>
            </c:numRef>
          </c:xVal>
          <c:yVal>
            <c:numRef>
              <c:f>Sheet1!$B$2:$B$9</c:f>
              <c:numCache>
                <c:formatCode>General</c:formatCode>
                <c:ptCount val="8"/>
                <c:pt idx="0">
                  <c:v>1.401</c:v>
                </c:pt>
                <c:pt idx="1">
                  <c:v>1.5780000000000001</c:v>
                </c:pt>
                <c:pt idx="2">
                  <c:v>0.58099999999999996</c:v>
                </c:pt>
                <c:pt idx="3">
                  <c:v>0.41199999999999998</c:v>
                </c:pt>
                <c:pt idx="4">
                  <c:v>0.79600000000000004</c:v>
                </c:pt>
                <c:pt idx="5">
                  <c:v>1.6180000000000001</c:v>
                </c:pt>
                <c:pt idx="6">
                  <c:v>0.36099999999999999</c:v>
                </c:pt>
                <c:pt idx="7">
                  <c:v>3.1509999999999998</c:v>
                </c:pt>
              </c:numCache>
            </c:numRef>
          </c:yVal>
          <c:bubbleSize>
            <c:numRef>
              <c:f>Sheet1!$C$2:$C$9</c:f>
              <c:numCache>
                <c:formatCode>General</c:formatCode>
                <c:ptCount val="8"/>
                <c:pt idx="0">
                  <c:v>277475644</c:v>
                </c:pt>
                <c:pt idx="1">
                  <c:v>69574516</c:v>
                </c:pt>
                <c:pt idx="2">
                  <c:v>51844614</c:v>
                </c:pt>
                <c:pt idx="3">
                  <c:v>34710855</c:v>
                </c:pt>
                <c:pt idx="4">
                  <c:v>33650553</c:v>
                </c:pt>
                <c:pt idx="5">
                  <c:v>12761321</c:v>
                </c:pt>
                <c:pt idx="6">
                  <c:v>5885956</c:v>
                </c:pt>
                <c:pt idx="7">
                  <c:v>13289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Equate</c:v>
                  </c:pt>
                  <c:pt idx="4">
                    <c:v>Schick</c:v>
                  </c:pt>
                  <c:pt idx="5">
                    <c:v>Dollar Shave Club</c:v>
                  </c:pt>
                  <c:pt idx="6">
                    <c:v>Van Der Hagen</c:v>
                  </c:pt>
                  <c:pt idx="7">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1D75ED3-4351-4F32-9702-9C5D44E0DD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E0A1BE9-7250-4EC3-AD7A-B2FD9F1673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6DB3A16-4B1D-4B67-8CC1-9D5554DCE9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CBB276B-51EA-49CC-850A-9B20777BEE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1964B4C-B54D-4097-85B7-9EEAAAC3D2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B4438FB-DF9A-439A-95FC-48D8F54CA1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D55F1D0-E2DC-48DC-8478-1155CFFE77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70779AA-1757-4040-9E9C-D358B99520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6.673999999999999</c:v>
                </c:pt>
                <c:pt idx="1">
                  <c:v>12.590299999999999</c:v>
                </c:pt>
                <c:pt idx="2">
                  <c:v>9.5841999999999992</c:v>
                </c:pt>
                <c:pt idx="3">
                  <c:v>8.9646000000000008</c:v>
                </c:pt>
                <c:pt idx="4">
                  <c:v>17.959800000000001</c:v>
                </c:pt>
                <c:pt idx="5">
                  <c:v>8.4400999999999993</c:v>
                </c:pt>
                <c:pt idx="6">
                  <c:v>14.8057</c:v>
                </c:pt>
              </c:numCache>
            </c:numRef>
          </c:xVal>
          <c:yVal>
            <c:numRef>
              <c:f>Sheet1!$B$2:$B$8</c:f>
              <c:numCache>
                <c:formatCode>General</c:formatCode>
                <c:ptCount val="7"/>
                <c:pt idx="0">
                  <c:v>1.105</c:v>
                </c:pt>
                <c:pt idx="1">
                  <c:v>0.90900000000000003</c:v>
                </c:pt>
                <c:pt idx="2">
                  <c:v>0.66600000000000004</c:v>
                </c:pt>
                <c:pt idx="3">
                  <c:v>0.94</c:v>
                </c:pt>
                <c:pt idx="4">
                  <c:v>0.753</c:v>
                </c:pt>
                <c:pt idx="5">
                  <c:v>0.88500000000000001</c:v>
                </c:pt>
                <c:pt idx="6">
                  <c:v>1.5509999999999999</c:v>
                </c:pt>
              </c:numCache>
            </c:numRef>
          </c:yVal>
          <c:bubbleSize>
            <c:numRef>
              <c:f>Sheet1!$C$2:$C$8</c:f>
              <c:numCache>
                <c:formatCode>General</c:formatCode>
                <c:ptCount val="7"/>
                <c:pt idx="0">
                  <c:v>71368823</c:v>
                </c:pt>
                <c:pt idx="1">
                  <c:v>22258475</c:v>
                </c:pt>
                <c:pt idx="2">
                  <c:v>5660351</c:v>
                </c:pt>
                <c:pt idx="3">
                  <c:v>5016932</c:v>
                </c:pt>
                <c:pt idx="4">
                  <c:v>3288530</c:v>
                </c:pt>
                <c:pt idx="5">
                  <c:v>2374435</c:v>
                </c:pt>
                <c:pt idx="6">
                  <c:v>89693</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Van Der Hagen</c:v>
                  </c:pt>
                  <c:pt idx="5">
                    <c:v>Equate</c:v>
                  </c:pt>
                  <c:pt idx="6">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5E20977-F2AB-4FB1-A2AF-0E59F872DB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BBCC7AB-F83F-4A6B-8AC7-0F7091DC42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9388E64-5D1A-4474-91EB-C2255DAA3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129CFAD-B8C6-4911-A44D-BF614CA556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81AA080-3418-47CB-BDDF-FBFB7E2504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B340727-81B8-4535-BEC2-4E4CF7F84B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9B79640-2F1B-414C-9767-718942EF36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9FEA890-1BEB-4385-AF76-276ECBC177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557099999999998</c:v>
                </c:pt>
                <c:pt idx="1">
                  <c:v>12.683999999999999</c:v>
                </c:pt>
                <c:pt idx="2">
                  <c:v>17.270099999999999</c:v>
                </c:pt>
                <c:pt idx="3">
                  <c:v>10.02</c:v>
                </c:pt>
                <c:pt idx="4">
                  <c:v>10.835599999999999</c:v>
                </c:pt>
                <c:pt idx="5">
                  <c:v>8.0243000000000002</c:v>
                </c:pt>
                <c:pt idx="6">
                  <c:v>12.721399999999999</c:v>
                </c:pt>
              </c:numCache>
            </c:numRef>
          </c:xVal>
          <c:yVal>
            <c:numRef>
              <c:f>Sheet1!$B$2:$B$8</c:f>
              <c:numCache>
                <c:formatCode>General</c:formatCode>
                <c:ptCount val="7"/>
                <c:pt idx="0">
                  <c:v>1.2</c:v>
                </c:pt>
                <c:pt idx="1">
                  <c:v>0.81100000000000005</c:v>
                </c:pt>
                <c:pt idx="2">
                  <c:v>0.79900000000000004</c:v>
                </c:pt>
                <c:pt idx="3">
                  <c:v>0.77600000000000002</c:v>
                </c:pt>
                <c:pt idx="4">
                  <c:v>0.72299999999999998</c:v>
                </c:pt>
                <c:pt idx="5">
                  <c:v>0.47099999999999997</c:v>
                </c:pt>
                <c:pt idx="6">
                  <c:v>1.117</c:v>
                </c:pt>
              </c:numCache>
            </c:numRef>
          </c:yVal>
          <c:bubbleSize>
            <c:numRef>
              <c:f>Sheet1!$C$2:$C$8</c:f>
              <c:numCache>
                <c:formatCode>General</c:formatCode>
                <c:ptCount val="7"/>
                <c:pt idx="0">
                  <c:v>503759226</c:v>
                </c:pt>
                <c:pt idx="1">
                  <c:v>116928743</c:v>
                </c:pt>
                <c:pt idx="2">
                  <c:v>28880007</c:v>
                </c:pt>
                <c:pt idx="3">
                  <c:v>17321953</c:v>
                </c:pt>
                <c:pt idx="4">
                  <c:v>7619052</c:v>
                </c:pt>
                <c:pt idx="5">
                  <c:v>7209662</c:v>
                </c:pt>
                <c:pt idx="6">
                  <c:v>1090366</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Equate</c:v>
                  </c:pt>
                  <c:pt idx="5">
                    <c:v>Pbg Pl</c:v>
                  </c:pt>
                  <c:pt idx="6">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F7343CE-8A66-4735-80A0-8FB34F14A6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F27F1D0E-BE02-4FAE-B1F9-95DA3E4B1D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6FD500E9-10F3-447C-9076-A9F1EBA7BD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7C39F88-326F-46E6-ACA6-65A858B75F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72213F6-B280-476E-9220-D651BF4424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1BA1A8B-946A-426C-9403-DE3E0D9C2B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98EBD56-F282-4C1B-9EA5-DA68F7FE44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4A6EA6F-3AF5-4C50-A847-773429C722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8.664000000000001</c:v>
                </c:pt>
              </c:numCache>
            </c:numRef>
          </c:xVal>
          <c:yVal>
            <c:numRef>
              <c:f>Sheet1!$B$2:$B$2</c:f>
              <c:numCache>
                <c:formatCode>General</c:formatCode>
                <c:ptCount val="1"/>
                <c:pt idx="0">
                  <c:v>1</c:v>
                </c:pt>
              </c:numCache>
            </c:numRef>
          </c:yVal>
          <c:bubbleSize>
            <c:numRef>
              <c:f>Sheet1!$C$2:$C$2</c:f>
              <c:numCache>
                <c:formatCode>General</c:formatCode>
                <c:ptCount val="1"/>
                <c:pt idx="0">
                  <c:v>71378767</c:v>
                </c:pt>
              </c:numCache>
            </c:numRef>
          </c:bubbleSize>
          <c:bubble3D val="0"/>
          <c:extLst>
            <c:ext xmlns:c15="http://schemas.microsoft.com/office/drawing/2012/chart" uri="{02D57815-91ED-43cb-92C2-25804820EDAC}">
              <c15:datalabelsRange>
                <c15:f>Sheet1!$E$2:$E$10</c15:f>
                <c15:dlblRangeCache>
                  <c:ptCount val="9"/>
                  <c:pt idx="0">
                    <c:v>Gille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548A199-67C5-4488-A6C4-7923FDE0DB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BE9DD7E-FE2C-446F-A29B-63B8F98D59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938A607-EA48-45AA-898B-EE9C379C10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6722777-26D6-4CB4-9E2F-2A998B997D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4EA87C2-61E3-45C7-8DB3-495C3FE67A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58BE9A3-6D50-434D-9FC9-CB119CC26E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A740C19-8597-481E-88F8-CC2F14AA22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86AADF7-B8A0-43E1-B430-E519B08706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0.7758</c:v>
                </c:pt>
                <c:pt idx="1">
                  <c:v>12.6654</c:v>
                </c:pt>
                <c:pt idx="2">
                  <c:v>17.3675</c:v>
                </c:pt>
                <c:pt idx="3">
                  <c:v>11.0657</c:v>
                </c:pt>
                <c:pt idx="4">
                  <c:v>10.835800000000001</c:v>
                </c:pt>
                <c:pt idx="5">
                  <c:v>2.9802</c:v>
                </c:pt>
                <c:pt idx="6">
                  <c:v>13.5345</c:v>
                </c:pt>
              </c:numCache>
            </c:numRef>
          </c:xVal>
          <c:yVal>
            <c:numRef>
              <c:f>Sheet1!$B$2:$B$8</c:f>
              <c:numCache>
                <c:formatCode>General</c:formatCode>
                <c:ptCount val="7"/>
                <c:pt idx="0">
                  <c:v>1.3759999999999999</c:v>
                </c:pt>
                <c:pt idx="1">
                  <c:v>0.86699999999999999</c:v>
                </c:pt>
                <c:pt idx="2">
                  <c:v>0.879</c:v>
                </c:pt>
                <c:pt idx="3">
                  <c:v>0.83</c:v>
                </c:pt>
                <c:pt idx="4">
                  <c:v>0.78200000000000003</c:v>
                </c:pt>
                <c:pt idx="5">
                  <c:v>0.113</c:v>
                </c:pt>
                <c:pt idx="6">
                  <c:v>1.282</c:v>
                </c:pt>
              </c:numCache>
            </c:numRef>
          </c:yVal>
          <c:bubbleSize>
            <c:numRef>
              <c:f>Sheet1!$C$2:$C$8</c:f>
              <c:numCache>
                <c:formatCode>General</c:formatCode>
                <c:ptCount val="7"/>
                <c:pt idx="0">
                  <c:v>118612654</c:v>
                </c:pt>
                <c:pt idx="1">
                  <c:v>46786767</c:v>
                </c:pt>
                <c:pt idx="2">
                  <c:v>8886004</c:v>
                </c:pt>
                <c:pt idx="3">
                  <c:v>7744389</c:v>
                </c:pt>
                <c:pt idx="4">
                  <c:v>7538613</c:v>
                </c:pt>
                <c:pt idx="5">
                  <c:v>2597426</c:v>
                </c:pt>
                <c:pt idx="6">
                  <c:v>43202</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Equate</c:v>
                  </c:pt>
                  <c:pt idx="5">
                    <c:v>Van Der Hagen</c:v>
                  </c:pt>
                  <c:pt idx="6">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3705572-5263-4093-AF4E-528E3ECFB2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FFC5245-FD2A-48C5-AAB5-240C3F39A3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FD6F05E-37AE-44F5-89DF-EE383FE134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9C3BFCF-2AA9-4727-BA1E-95F9500048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655D31E-C496-4083-8635-C2DB9AE494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9567EF7-3090-4ACD-BE4A-77586FE9A0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3D84DAB-F545-416A-B220-948CD58713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3D0794A-E728-4393-8C76-EFF2CE7DFD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828700000000001</c:v>
                </c:pt>
                <c:pt idx="1">
                  <c:v>12.4175</c:v>
                </c:pt>
                <c:pt idx="2">
                  <c:v>6.1783000000000001</c:v>
                </c:pt>
                <c:pt idx="3">
                  <c:v>10.7407</c:v>
                </c:pt>
                <c:pt idx="4">
                  <c:v>4.5225999999999997</c:v>
                </c:pt>
                <c:pt idx="5">
                  <c:v>9.6029999999999998</c:v>
                </c:pt>
              </c:numCache>
            </c:numRef>
          </c:xVal>
          <c:yVal>
            <c:numRef>
              <c:f>Sheet1!$B$2:$B$7</c:f>
              <c:numCache>
                <c:formatCode>General</c:formatCode>
                <c:ptCount val="6"/>
                <c:pt idx="0">
                  <c:v>1.32</c:v>
                </c:pt>
                <c:pt idx="1">
                  <c:v>1.44</c:v>
                </c:pt>
                <c:pt idx="2">
                  <c:v>0.55100000000000005</c:v>
                </c:pt>
                <c:pt idx="3">
                  <c:v>0.78</c:v>
                </c:pt>
                <c:pt idx="4">
                  <c:v>0.41199999999999998</c:v>
                </c:pt>
                <c:pt idx="5">
                  <c:v>1.512</c:v>
                </c:pt>
              </c:numCache>
            </c:numRef>
          </c:yVal>
          <c:bubbleSize>
            <c:numRef>
              <c:f>Sheet1!$C$2:$C$7</c:f>
              <c:numCache>
                <c:formatCode>General</c:formatCode>
                <c:ptCount val="6"/>
                <c:pt idx="0">
                  <c:v>975089151</c:v>
                </c:pt>
                <c:pt idx="1">
                  <c:v>184811438</c:v>
                </c:pt>
                <c:pt idx="2">
                  <c:v>138157817</c:v>
                </c:pt>
                <c:pt idx="3">
                  <c:v>117890971</c:v>
                </c:pt>
                <c:pt idx="4">
                  <c:v>72039189</c:v>
                </c:pt>
                <c:pt idx="5">
                  <c:v>31077509</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pt idx="2">
                    <c:v>Bic</c:v>
                  </c:pt>
                  <c:pt idx="3">
                    <c:v>Edgewell Personal Care</c:v>
                  </c:pt>
                  <c:pt idx="4">
                    <c:v>Pbg</c:v>
                  </c:pt>
                  <c:pt idx="5">
                    <c:v>Unilev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2435BB8-2AE1-451D-9A0D-09A9955164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BD56FBE-3E5A-4133-A639-68FAF11B6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69E5A66-2929-4E81-AE85-1E67D169F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C1F8EAE-8660-4D3D-9930-7FF804EEBE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2EC470F-4114-41CE-B12B-3C5A2547BF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DA4142F-3603-42F4-AF23-F936F1D4E5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6E1BFA2-1DF6-4A05-AFF3-99014714B6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C6ED23F-3534-4049-B02C-BC70340F0F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6.530799999999999</c:v>
                </c:pt>
                <c:pt idx="1">
                  <c:v>18.142800000000001</c:v>
                </c:pt>
                <c:pt idx="2">
                  <c:v>23.116800000000001</c:v>
                </c:pt>
              </c:numCache>
            </c:numRef>
          </c:xVal>
          <c:yVal>
            <c:numRef>
              <c:f>Sheet1!$B$2:$B$4</c:f>
              <c:numCache>
                <c:formatCode>General</c:formatCode>
                <c:ptCount val="3"/>
                <c:pt idx="0">
                  <c:v>1.075</c:v>
                </c:pt>
                <c:pt idx="1">
                  <c:v>0.6</c:v>
                </c:pt>
                <c:pt idx="2">
                  <c:v>1.391</c:v>
                </c:pt>
              </c:numCache>
            </c:numRef>
          </c:yVal>
          <c:bubbleSize>
            <c:numRef>
              <c:f>Sheet1!$C$2:$C$4</c:f>
              <c:numCache>
                <c:formatCode>General</c:formatCode>
                <c:ptCount val="3"/>
                <c:pt idx="0">
                  <c:v>106285190</c:v>
                </c:pt>
                <c:pt idx="1">
                  <c:v>11788256</c:v>
                </c:pt>
                <c:pt idx="2">
                  <c:v>2025791</c:v>
                </c:pt>
              </c:numCache>
            </c:numRef>
          </c:bubbleSize>
          <c:bubble3D val="0"/>
          <c:extLst>
            <c:ext xmlns:c15="http://schemas.microsoft.com/office/drawing/2012/chart" uri="{02D57815-91ED-43cb-92C2-25804820EDAC}">
              <c15:datalabelsRange>
                <c15:f>Sheet1!$E$2:$E$10</c15:f>
                <c15:dlblRangeCache>
                  <c:ptCount val="9"/>
                  <c:pt idx="0">
                    <c:v>Procter &amp; Gamble</c:v>
                  </c:pt>
                  <c:pt idx="1">
                    <c:v>Edgewell Personal Care</c:v>
                  </c:pt>
                  <c:pt idx="2">
                    <c:v>Harry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1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C83C2E4-FC48-4B38-8E72-C2D1151592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4ABD2EA-43B5-4A9D-B819-C4C0CDFD70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EFA6307-0B6E-44A4-9F6B-E2903689F2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915F848-B754-4BE6-95CC-4BF41E7805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121F806-0CE2-4C2A-B5E5-1809E40EEA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71F9660-6C32-4E04-B595-6CD092C08F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35A193-E142-460C-B05B-58C9B6D9FB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2078AD3-58D7-435A-9009-5E6AF1D5B6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4.988200000000001</c:v>
                </c:pt>
                <c:pt idx="1">
                  <c:v>12.557499999999999</c:v>
                </c:pt>
                <c:pt idx="2">
                  <c:v>6.4696999999999996</c:v>
                </c:pt>
                <c:pt idx="3">
                  <c:v>4.1441999999999997</c:v>
                </c:pt>
                <c:pt idx="4">
                  <c:v>9.9690999999999992</c:v>
                </c:pt>
                <c:pt idx="5">
                  <c:v>10.132099999999999</c:v>
                </c:pt>
                <c:pt idx="6">
                  <c:v>5.5808999999999997</c:v>
                </c:pt>
              </c:numCache>
            </c:numRef>
          </c:xVal>
          <c:yVal>
            <c:numRef>
              <c:f>Sheet1!$B$2:$B$8</c:f>
              <c:numCache>
                <c:formatCode>General</c:formatCode>
                <c:ptCount val="7"/>
                <c:pt idx="0">
                  <c:v>1.401</c:v>
                </c:pt>
                <c:pt idx="1">
                  <c:v>1.5780000000000001</c:v>
                </c:pt>
                <c:pt idx="2">
                  <c:v>0.57899999999999996</c:v>
                </c:pt>
                <c:pt idx="3">
                  <c:v>0.41199999999999998</c:v>
                </c:pt>
                <c:pt idx="4">
                  <c:v>0.79900000000000004</c:v>
                </c:pt>
                <c:pt idx="5">
                  <c:v>1.6180000000000001</c:v>
                </c:pt>
                <c:pt idx="6">
                  <c:v>0.36099999999999999</c:v>
                </c:pt>
              </c:numCache>
            </c:numRef>
          </c:yVal>
          <c:bubbleSize>
            <c:numRef>
              <c:f>Sheet1!$C$2:$C$8</c:f>
              <c:numCache>
                <c:formatCode>General</c:formatCode>
                <c:ptCount val="7"/>
                <c:pt idx="0">
                  <c:v>277475646</c:v>
                </c:pt>
                <c:pt idx="1">
                  <c:v>69574516</c:v>
                </c:pt>
                <c:pt idx="2">
                  <c:v>57054362</c:v>
                </c:pt>
                <c:pt idx="3">
                  <c:v>34710867</c:v>
                </c:pt>
                <c:pt idx="4">
                  <c:v>33783546</c:v>
                </c:pt>
                <c:pt idx="5">
                  <c:v>12761444</c:v>
                </c:pt>
                <c:pt idx="6">
                  <c:v>5885956</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pt idx="2">
                    <c:v>Bic</c:v>
                  </c:pt>
                  <c:pt idx="3">
                    <c:v>Pbg</c:v>
                  </c:pt>
                  <c:pt idx="4">
                    <c:v>Edgewell Personal Care</c:v>
                  </c:pt>
                  <c:pt idx="5">
                    <c:v>Unilever</c:v>
                  </c:pt>
                  <c:pt idx="6">
                    <c:v>Universal Beauty Prods In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2ED3957-72ED-426F-8807-E32640583E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8016BF2-3FF1-438E-9F53-3CDEAB0F3B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234F9B2-EBAB-4356-8506-8121EFBB02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EEEB4C7-9529-436F-9C1F-6685C692BD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4572D11-5E28-4434-86F3-FC852A08EB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8DAC399-6AAF-4D9D-97DB-D364F4F9E6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B456ECE-7D0C-4C44-9AD7-E96B3366A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59E3D56-0416-43F8-9AE0-431E717DF8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1.1891</c:v>
                </c:pt>
                <c:pt idx="1">
                  <c:v>12.6136</c:v>
                </c:pt>
                <c:pt idx="2">
                  <c:v>13.6328</c:v>
                </c:pt>
                <c:pt idx="3">
                  <c:v>8.1267999999999994</c:v>
                </c:pt>
                <c:pt idx="4">
                  <c:v>9.6029999999999998</c:v>
                </c:pt>
                <c:pt idx="5">
                  <c:v>8.5785</c:v>
                </c:pt>
                <c:pt idx="6">
                  <c:v>6.1635</c:v>
                </c:pt>
              </c:numCache>
            </c:numRef>
          </c:xVal>
          <c:yVal>
            <c:numRef>
              <c:f>Sheet1!$B$2:$B$8</c:f>
              <c:numCache>
                <c:formatCode>General</c:formatCode>
                <c:ptCount val="7"/>
                <c:pt idx="0">
                  <c:v>1.2569999999999999</c:v>
                </c:pt>
                <c:pt idx="1">
                  <c:v>0.90200000000000002</c:v>
                </c:pt>
                <c:pt idx="2">
                  <c:v>0.83699999999999997</c:v>
                </c:pt>
                <c:pt idx="3">
                  <c:v>0.45200000000000001</c:v>
                </c:pt>
                <c:pt idx="4">
                  <c:v>0.93100000000000005</c:v>
                </c:pt>
                <c:pt idx="5">
                  <c:v>0.59799999999999998</c:v>
                </c:pt>
                <c:pt idx="6">
                  <c:v>0.26700000000000002</c:v>
                </c:pt>
              </c:numCache>
            </c:numRef>
          </c:yVal>
          <c:bubbleSize>
            <c:numRef>
              <c:f>Sheet1!$C$2:$C$8</c:f>
              <c:numCache>
                <c:formatCode>General</c:formatCode>
                <c:ptCount val="7"/>
                <c:pt idx="0">
                  <c:v>726078992</c:v>
                </c:pt>
                <c:pt idx="1">
                  <c:v>182395509</c:v>
                </c:pt>
                <c:pt idx="2">
                  <c:v>52431265</c:v>
                </c:pt>
                <c:pt idx="3">
                  <c:v>51685391</c:v>
                </c:pt>
                <c:pt idx="4">
                  <c:v>31077509</c:v>
                </c:pt>
                <c:pt idx="5">
                  <c:v>23657875</c:v>
                </c:pt>
                <c:pt idx="6">
                  <c:v>10890684</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pt idx="2">
                    <c:v>Edgewell Personal Care</c:v>
                  </c:pt>
                  <c:pt idx="3">
                    <c:v>Bic</c:v>
                  </c:pt>
                  <c:pt idx="4">
                    <c:v>Unilever</c:v>
                  </c:pt>
                  <c:pt idx="5">
                    <c:v>Pbg</c:v>
                  </c:pt>
                  <c:pt idx="6">
                    <c:v>Universal Beauty Prods In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A95B886-5CEE-4931-AA59-73E4DED9DA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04BD67D-570E-4946-B260-FC3C720B0D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5141B58-53A3-4AC1-B62B-C0DE69F8F8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90B4592-44E6-4EE4-9066-AA501DB422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E0FD208-F072-44E3-B5C0-0A316BE3E4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FBFE33B-1B5C-4B07-8903-BFD0D4B5DC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F351AAF-6574-4A4E-BD42-D3AB101429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B1CD6D4-40DF-45B9-830A-EB730BF57E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8.288699999999999</c:v>
                </c:pt>
                <c:pt idx="1">
                  <c:v>23.116800000000001</c:v>
                </c:pt>
              </c:numCache>
            </c:numRef>
          </c:xVal>
          <c:yVal>
            <c:numRef>
              <c:f>Sheet1!$B$2:$B$3</c:f>
              <c:numCache>
                <c:formatCode>General</c:formatCode>
                <c:ptCount val="2"/>
                <c:pt idx="0">
                  <c:v>1.004</c:v>
                </c:pt>
                <c:pt idx="1">
                  <c:v>0.86499999999999999</c:v>
                </c:pt>
              </c:numCache>
            </c:numRef>
          </c:yVal>
          <c:bubbleSize>
            <c:numRef>
              <c:f>Sheet1!$C$2:$C$3</c:f>
              <c:numCache>
                <c:formatCode>General</c:formatCode>
                <c:ptCount val="2"/>
                <c:pt idx="0">
                  <c:v>87444504</c:v>
                </c:pt>
                <c:pt idx="1">
                  <c:v>2025791</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76BFB99-7576-4EE3-81EE-AD4382AAD8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A5927A6-1BAD-472F-812F-9CF9335B7D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BBBFA9E-A20A-4CEA-9DA3-5E527CD572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45F200A-7894-41EC-BC3B-D0CD07BCE9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40D8323-D51B-424A-A25D-F71458577B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2DB5A9B-F02B-428C-A312-BEDF78CE82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0A22B15-D9CA-46EE-B61C-2C828340DD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4146247-280D-4994-A71E-66DD5773F6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9.018000000000001</c:v>
                </c:pt>
                <c:pt idx="1">
                  <c:v>12.6411</c:v>
                </c:pt>
                <c:pt idx="2">
                  <c:v>8.6961999999999993</c:v>
                </c:pt>
                <c:pt idx="3">
                  <c:v>13.205299999999999</c:v>
                </c:pt>
                <c:pt idx="4">
                  <c:v>10.132099999999999</c:v>
                </c:pt>
                <c:pt idx="5">
                  <c:v>10.146000000000001</c:v>
                </c:pt>
                <c:pt idx="6">
                  <c:v>5.5808999999999997</c:v>
                </c:pt>
              </c:numCache>
            </c:numRef>
          </c:xVal>
          <c:yVal>
            <c:numRef>
              <c:f>Sheet1!$B$2:$B$8</c:f>
              <c:numCache>
                <c:formatCode>General</c:formatCode>
                <c:ptCount val="7"/>
                <c:pt idx="0">
                  <c:v>1.446</c:v>
                </c:pt>
                <c:pt idx="1">
                  <c:v>0.94899999999999995</c:v>
                </c:pt>
                <c:pt idx="2">
                  <c:v>0.47899999999999998</c:v>
                </c:pt>
                <c:pt idx="3">
                  <c:v>0.91600000000000004</c:v>
                </c:pt>
                <c:pt idx="4">
                  <c:v>0.96399999999999997</c:v>
                </c:pt>
                <c:pt idx="5">
                  <c:v>0.82699999999999996</c:v>
                </c:pt>
                <c:pt idx="6">
                  <c:v>0.215</c:v>
                </c:pt>
              </c:numCache>
            </c:numRef>
          </c:yVal>
          <c:bubbleSize>
            <c:numRef>
              <c:f>Sheet1!$C$2:$C$8</c:f>
              <c:numCache>
                <c:formatCode>General</c:formatCode>
                <c:ptCount val="7"/>
                <c:pt idx="0">
                  <c:v>189981829</c:v>
                </c:pt>
                <c:pt idx="1">
                  <c:v>69045242</c:v>
                </c:pt>
                <c:pt idx="2">
                  <c:v>27200026</c:v>
                </c:pt>
                <c:pt idx="3">
                  <c:v>14680043</c:v>
                </c:pt>
                <c:pt idx="4">
                  <c:v>12761444</c:v>
                </c:pt>
                <c:pt idx="5">
                  <c:v>9913053</c:v>
                </c:pt>
                <c:pt idx="6">
                  <c:v>5885956</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pt idx="2">
                    <c:v>Bic</c:v>
                  </c:pt>
                  <c:pt idx="3">
                    <c:v>Edgewell Personal Care</c:v>
                  </c:pt>
                  <c:pt idx="4">
                    <c:v>Unilever</c:v>
                  </c:pt>
                  <c:pt idx="5">
                    <c:v>Pbg</c:v>
                  </c:pt>
                  <c:pt idx="6">
                    <c:v>Universal Beauty Prods In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49B7B4-EDFB-4F17-B17B-DBB62B711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07B7629-F421-466C-AD71-5E19011B6D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030CCF7-19F9-4717-9D93-8C06A433C9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2246F70-338D-4947-A7C4-6F8A16409D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DD1A544-0528-44D7-9059-0C764ED76D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B167046-8BCB-44D9-A29D-DC45B95B40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535CDB9-924C-4DE8-90E2-47584E9C36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BA91CD9-46C2-4654-9E9B-CCBC305B2F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1692</c:v>
                </c:pt>
                <c:pt idx="1">
                  <c:v>12.6136</c:v>
                </c:pt>
                <c:pt idx="2">
                  <c:v>13.9156</c:v>
                </c:pt>
                <c:pt idx="3">
                  <c:v>8.3641000000000005</c:v>
                </c:pt>
                <c:pt idx="4">
                  <c:v>9.5934000000000008</c:v>
                </c:pt>
                <c:pt idx="5">
                  <c:v>7.7123999999999997</c:v>
                </c:pt>
                <c:pt idx="6">
                  <c:v>10.1455</c:v>
                </c:pt>
                <c:pt idx="7">
                  <c:v>13.051500000000001</c:v>
                </c:pt>
              </c:numCache>
            </c:numRef>
          </c:xVal>
          <c:yVal>
            <c:numRef>
              <c:f>Sheet1!$B$2:$B$9</c:f>
              <c:numCache>
                <c:formatCode>General</c:formatCode>
                <c:ptCount val="8"/>
                <c:pt idx="0">
                  <c:v>1.262</c:v>
                </c:pt>
                <c:pt idx="1">
                  <c:v>0.90200000000000002</c:v>
                </c:pt>
                <c:pt idx="2">
                  <c:v>0.83599999999999997</c:v>
                </c:pt>
                <c:pt idx="3">
                  <c:v>0.505</c:v>
                </c:pt>
                <c:pt idx="4">
                  <c:v>0.93100000000000005</c:v>
                </c:pt>
                <c:pt idx="5">
                  <c:v>0.51700000000000002</c:v>
                </c:pt>
                <c:pt idx="6">
                  <c:v>0.76300000000000001</c:v>
                </c:pt>
                <c:pt idx="7">
                  <c:v>1.2390000000000001</c:v>
                </c:pt>
              </c:numCache>
            </c:numRef>
          </c:yVal>
          <c:bubbleSize>
            <c:numRef>
              <c:f>Sheet1!$C$2:$C$9</c:f>
              <c:numCache>
                <c:formatCode>General</c:formatCode>
                <c:ptCount val="8"/>
                <c:pt idx="0">
                  <c:v>723373212</c:v>
                </c:pt>
                <c:pt idx="1">
                  <c:v>182395509</c:v>
                </c:pt>
                <c:pt idx="2">
                  <c:v>49393325</c:v>
                </c:pt>
                <c:pt idx="3">
                  <c:v>40496317</c:v>
                </c:pt>
                <c:pt idx="4">
                  <c:v>31033081</c:v>
                </c:pt>
                <c:pt idx="5">
                  <c:v>13626941</c:v>
                </c:pt>
                <c:pt idx="6">
                  <c:v>10019159</c:v>
                </c:pt>
                <c:pt idx="7">
                  <c:v>179135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Bic</c:v>
                  </c:pt>
                  <c:pt idx="4">
                    <c:v>Dollar Shave Club</c:v>
                  </c:pt>
                  <c:pt idx="5">
                    <c:v>Pbg Pl</c:v>
                  </c:pt>
                  <c:pt idx="6">
                    <c:v>Equate</c:v>
                  </c:pt>
                  <c:pt idx="7">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DC158F5-3D2C-41D0-A1B8-63822876BE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2168639-4586-4B8A-954E-4FB0CD8EF3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D09F7C2-6865-40DA-9816-DD34C4B930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30DF310-3AB5-48FB-9670-6EEA986EA4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8F4C882-0CCE-4964-A7F0-D1EFA4F7C3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8DAE755-AD83-49C0-91BE-3CECB385CD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39A19B1-4A3F-49B5-B2BC-14D42D1A5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D8663F1-0958-409B-842A-14DB3E4F6E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5176</c:v>
                </c:pt>
                <c:pt idx="1">
                  <c:v>5.4038000000000004</c:v>
                </c:pt>
                <c:pt idx="2">
                  <c:v>9.1806999999999999</c:v>
                </c:pt>
                <c:pt idx="3">
                  <c:v>3.6734</c:v>
                </c:pt>
                <c:pt idx="4">
                  <c:v>2.5627</c:v>
                </c:pt>
              </c:numCache>
            </c:numRef>
          </c:xVal>
          <c:yVal>
            <c:numRef>
              <c:f>Sheet1!$B$2:$B$6</c:f>
              <c:numCache>
                <c:formatCode>General</c:formatCode>
                <c:ptCount val="5"/>
                <c:pt idx="0">
                  <c:v>1.234</c:v>
                </c:pt>
                <c:pt idx="1">
                  <c:v>0.91200000000000003</c:v>
                </c:pt>
                <c:pt idx="2">
                  <c:v>1.1040000000000001</c:v>
                </c:pt>
                <c:pt idx="3">
                  <c:v>0.61</c:v>
                </c:pt>
                <c:pt idx="4">
                  <c:v>0.34899999999999998</c:v>
                </c:pt>
              </c:numCache>
            </c:numRef>
          </c:yVal>
          <c:bubbleSize>
            <c:numRef>
              <c:f>Sheet1!$C$2:$C$6</c:f>
              <c:numCache>
                <c:formatCode>General</c:formatCode>
                <c:ptCount val="5"/>
                <c:pt idx="0">
                  <c:v>249010159</c:v>
                </c:pt>
                <c:pt idx="1">
                  <c:v>86472426</c:v>
                </c:pt>
                <c:pt idx="2">
                  <c:v>65459706</c:v>
                </c:pt>
                <c:pt idx="3">
                  <c:v>48381314</c:v>
                </c:pt>
                <c:pt idx="4">
                  <c:v>8075661</c:v>
                </c:pt>
              </c:numCache>
            </c:numRef>
          </c:bubbleSize>
          <c:bubble3D val="0"/>
          <c:extLst>
            <c:ext xmlns:c15="http://schemas.microsoft.com/office/drawing/2012/chart" uri="{02D57815-91ED-43cb-92C2-25804820EDAC}">
              <c15:datalabelsRange>
                <c15:f>Sheet1!$E$2:$E$10</c15:f>
                <c15:dlblRangeCache>
                  <c:ptCount val="9"/>
                  <c:pt idx="0">
                    <c:v>Procter &amp; Gamble</c:v>
                  </c:pt>
                  <c:pt idx="1">
                    <c:v>Bic</c:v>
                  </c:pt>
                  <c:pt idx="2">
                    <c:v>Edgewell Personal Care</c:v>
                  </c:pt>
                  <c:pt idx="3">
                    <c:v>Pbg</c:v>
                  </c:pt>
                  <c:pt idx="4">
                    <c:v>Private La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5343D7D-EF7E-4292-B8FE-62EEC30746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6007B9C-1551-452D-9E2A-2E3844498A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F5ACFA1-443B-4937-9420-F2077F852F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49454F4-C3A8-4DC8-9589-66B2D56357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68AB93B-3132-41B8-A9A0-4FA667ED7C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6467AB9-50B2-4FCA-84A5-3E814DA36F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CDED14A-4988-4499-B560-11D7D821D6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9155845-C4B7-46FB-BD6C-AFA3434947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114000000000001</c:v>
                </c:pt>
                <c:pt idx="1">
                  <c:v>18.1432</c:v>
                </c:pt>
                <c:pt idx="2">
                  <c:v>17.2226</c:v>
                </c:pt>
              </c:numCache>
            </c:numRef>
          </c:xVal>
          <c:yVal>
            <c:numRef>
              <c:f>Sheet1!$B$2:$B$4</c:f>
              <c:numCache>
                <c:formatCode>General</c:formatCode>
                <c:ptCount val="3"/>
                <c:pt idx="0">
                  <c:v>0.874</c:v>
                </c:pt>
                <c:pt idx="1">
                  <c:v>1.2450000000000001</c:v>
                </c:pt>
                <c:pt idx="2">
                  <c:v>2.2570000000000001</c:v>
                </c:pt>
              </c:numCache>
            </c:numRef>
          </c:yVal>
          <c:bubbleSize>
            <c:numRef>
              <c:f>Sheet1!$C$2:$C$4</c:f>
              <c:numCache>
                <c:formatCode>General</c:formatCode>
                <c:ptCount val="3"/>
                <c:pt idx="0">
                  <c:v>18840686</c:v>
                </c:pt>
                <c:pt idx="1">
                  <c:v>11787957</c:v>
                </c:pt>
                <c:pt idx="2">
                  <c:v>811701</c:v>
                </c:pt>
              </c:numCache>
            </c:numRef>
          </c:bubbleSize>
          <c:bubble3D val="0"/>
          <c:extLst>
            <c:ext xmlns:c15="http://schemas.microsoft.com/office/drawing/2012/chart" uri="{02D57815-91ED-43cb-92C2-25804820EDAC}">
              <c15:datalabelsRange>
                <c15:f>Sheet1!$E$2:$E$10</c15:f>
                <c15:dlblRangeCache>
                  <c:ptCount val="9"/>
                  <c:pt idx="0">
                    <c:v>Procter &amp; Gamble</c:v>
                  </c:pt>
                  <c:pt idx="1">
                    <c:v>Edgewell Personal Care</c:v>
                  </c:pt>
                  <c:pt idx="2">
                    <c:v>B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EC369ED-9E47-4CCA-831D-04EAF1DDA4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5DFAA06-7E1B-4759-8603-711CB36AE6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D917030-7C36-4E35-9F19-312AFEB04B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9412867-C9CD-453A-A21F-E5120BE6D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63B2AB4-952B-48C8-B539-7237ABAD02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1FFF426-44AE-476B-A778-92E9148E7F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D63322E-91D3-4B07-B8E7-F3270CF263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E9D5764-E2C2-4852-AC48-CEA67A4792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0.2652</c:v>
                </c:pt>
                <c:pt idx="1">
                  <c:v>5.2460000000000004</c:v>
                </c:pt>
                <c:pt idx="2">
                  <c:v>3.3515999999999999</c:v>
                </c:pt>
                <c:pt idx="3">
                  <c:v>8.3892000000000007</c:v>
                </c:pt>
              </c:numCache>
            </c:numRef>
          </c:xVal>
          <c:yVal>
            <c:numRef>
              <c:f>Sheet1!$B$2:$B$5</c:f>
              <c:numCache>
                <c:formatCode>General</c:formatCode>
                <c:ptCount val="4"/>
                <c:pt idx="0">
                  <c:v>1.3320000000000001</c:v>
                </c:pt>
                <c:pt idx="1">
                  <c:v>0.84199999999999997</c:v>
                </c:pt>
                <c:pt idx="2">
                  <c:v>0.58699999999999997</c:v>
                </c:pt>
                <c:pt idx="3">
                  <c:v>1.0640000000000001</c:v>
                </c:pt>
              </c:numCache>
            </c:numRef>
          </c:yVal>
          <c:bubbleSize>
            <c:numRef>
              <c:f>Sheet1!$C$2:$C$5</c:f>
              <c:numCache>
                <c:formatCode>General</c:formatCode>
                <c:ptCount val="4"/>
                <c:pt idx="0">
                  <c:v>87493817</c:v>
                </c:pt>
                <c:pt idx="1">
                  <c:v>29854336</c:v>
                </c:pt>
                <c:pt idx="2">
                  <c:v>24797814</c:v>
                </c:pt>
                <c:pt idx="3">
                  <c:v>19103503</c:v>
                </c:pt>
              </c:numCache>
            </c:numRef>
          </c:bubbleSize>
          <c:bubble3D val="0"/>
          <c:extLst>
            <c:ext xmlns:c15="http://schemas.microsoft.com/office/drawing/2012/chart" uri="{02D57815-91ED-43cb-92C2-25804820EDAC}">
              <c15:datalabelsRange>
                <c15:f>Sheet1!$E$2:$E$10</c15:f>
                <c15:dlblRangeCache>
                  <c:ptCount val="9"/>
                  <c:pt idx="0">
                    <c:v>Procter &amp; Gamble</c:v>
                  </c:pt>
                  <c:pt idx="1">
                    <c:v>Bic</c:v>
                  </c:pt>
                  <c:pt idx="2">
                    <c:v>Pbg</c:v>
                  </c:pt>
                  <c:pt idx="3">
                    <c:v>Edgewell Personal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63F6937-AB54-4893-9B10-725374734F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6C9B213-9A46-4FE0-BB11-8CD6DF9D22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8E0A60D-39F4-4A8D-9A1D-C70D525C6E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018D704-AD66-4A4E-B93E-A296F46696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895B1D1-A48D-4EE2-AC7C-FFD77A7F76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E05C713-7C38-474C-8EA4-39605D2AD4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4F4D9D1-EDD3-4132-BEBF-36C1AF0DB4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1750888-F30A-43FD-995C-2FC292F090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3705</c:v>
                </c:pt>
                <c:pt idx="1">
                  <c:v>12.489800000000001</c:v>
                </c:pt>
                <c:pt idx="2">
                  <c:v>11.04</c:v>
                </c:pt>
                <c:pt idx="3">
                  <c:v>9.1249000000000002</c:v>
                </c:pt>
                <c:pt idx="4">
                  <c:v>18.031400000000001</c:v>
                </c:pt>
                <c:pt idx="5">
                  <c:v>8.4085000000000001</c:v>
                </c:pt>
              </c:numCache>
            </c:numRef>
          </c:xVal>
          <c:yVal>
            <c:numRef>
              <c:f>Sheet1!$B$2:$B$7</c:f>
              <c:numCache>
                <c:formatCode>General</c:formatCode>
                <c:ptCount val="6"/>
                <c:pt idx="0">
                  <c:v>1.163</c:v>
                </c:pt>
                <c:pt idx="1">
                  <c:v>0.86799999999999999</c:v>
                </c:pt>
                <c:pt idx="2">
                  <c:v>0.64700000000000002</c:v>
                </c:pt>
                <c:pt idx="3">
                  <c:v>0.91300000000000003</c:v>
                </c:pt>
                <c:pt idx="4">
                  <c:v>0.73899999999999999</c:v>
                </c:pt>
                <c:pt idx="5">
                  <c:v>0.71499999999999997</c:v>
                </c:pt>
              </c:numCache>
            </c:numRef>
          </c:yVal>
          <c:bubbleSize>
            <c:numRef>
              <c:f>Sheet1!$C$2:$C$7</c:f>
              <c:numCache>
                <c:formatCode>General</c:formatCode>
                <c:ptCount val="6"/>
                <c:pt idx="0">
                  <c:v>219037324</c:v>
                </c:pt>
                <c:pt idx="1">
                  <c:v>65466766</c:v>
                </c:pt>
                <c:pt idx="2">
                  <c:v>21679564</c:v>
                </c:pt>
                <c:pt idx="3">
                  <c:v>13755552</c:v>
                </c:pt>
                <c:pt idx="4">
                  <c:v>6491139</c:v>
                </c:pt>
                <c:pt idx="5">
                  <c:v>6257528</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pt idx="2">
                    <c:v>Edgewell Personal Care</c:v>
                  </c:pt>
                  <c:pt idx="3">
                    <c:v>Unilever</c:v>
                  </c:pt>
                  <c:pt idx="4">
                    <c:v>Universal Beauty Prods Inc</c:v>
                  </c:pt>
                  <c:pt idx="5">
                    <c:v>Pbg</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555AFB3-0EC3-4A2B-A129-152715E9CE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7D59C82-2AD3-493A-B2E6-68EEB1FE3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FDA8B58-C733-4D47-A173-EE87A7AC92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44F55A3-9096-4086-A645-BA8FE6715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947F722-E8D1-427E-9B94-4E8D6749D5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854DD63-4925-4AA3-AF29-662EA1415D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FEFA8FB-0A15-4A49-9436-C52F1D73C1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C0E3227-B7F3-47A8-9358-426064A60D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6.705500000000001</c:v>
                </c:pt>
                <c:pt idx="1">
                  <c:v>23.116800000000001</c:v>
                </c:pt>
              </c:numCache>
            </c:numRef>
          </c:xVal>
          <c:yVal>
            <c:numRef>
              <c:f>Sheet1!$B$2:$B$3</c:f>
              <c:numCache>
                <c:formatCode>General</c:formatCode>
                <c:ptCount val="2"/>
                <c:pt idx="0">
                  <c:v>1.069</c:v>
                </c:pt>
                <c:pt idx="1">
                  <c:v>0.66800000000000004</c:v>
                </c:pt>
              </c:numCache>
            </c:numRef>
          </c:yVal>
          <c:bubbleSize>
            <c:numRef>
              <c:f>Sheet1!$C$2:$C$3</c:f>
              <c:numCache>
                <c:formatCode>General</c:formatCode>
                <c:ptCount val="2"/>
                <c:pt idx="0">
                  <c:v>16065737</c:v>
                </c:pt>
                <c:pt idx="1">
                  <c:v>2025791</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5479884-2E02-47D5-84D6-2496EEBE3F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00FE238-0557-4151-82BD-53CFB398C8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4607886-C210-43DD-932A-35C810FFB2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E003DBC-94A7-4797-861A-CBA693FD01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67C3848-2D3A-45EE-9279-E1A22F91C8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B3BB68A-A783-4462-978D-42DF1DDBE5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1DB4DDE-5CE9-449B-ABB2-BEAB1DF96F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75BCD92-8068-4CB2-AECF-270D8A2927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673999999999999</c:v>
                </c:pt>
                <c:pt idx="1">
                  <c:v>12.590299999999999</c:v>
                </c:pt>
                <c:pt idx="2">
                  <c:v>9.6372</c:v>
                </c:pt>
                <c:pt idx="3">
                  <c:v>8.9647000000000006</c:v>
                </c:pt>
                <c:pt idx="4">
                  <c:v>17.959800000000001</c:v>
                </c:pt>
                <c:pt idx="5">
                  <c:v>8.4400999999999993</c:v>
                </c:pt>
              </c:numCache>
            </c:numRef>
          </c:xVal>
          <c:yVal>
            <c:numRef>
              <c:f>Sheet1!$B$2:$B$7</c:f>
              <c:numCache>
                <c:formatCode>General</c:formatCode>
                <c:ptCount val="6"/>
                <c:pt idx="0">
                  <c:v>1.105</c:v>
                </c:pt>
                <c:pt idx="1">
                  <c:v>0.90900000000000003</c:v>
                </c:pt>
                <c:pt idx="2">
                  <c:v>0.67100000000000004</c:v>
                </c:pt>
                <c:pt idx="3">
                  <c:v>0.94</c:v>
                </c:pt>
                <c:pt idx="4">
                  <c:v>0.753</c:v>
                </c:pt>
                <c:pt idx="5">
                  <c:v>0.88500000000000001</c:v>
                </c:pt>
              </c:numCache>
            </c:numRef>
          </c:yVal>
          <c:bubbleSize>
            <c:numRef>
              <c:f>Sheet1!$C$2:$C$7</c:f>
              <c:numCache>
                <c:formatCode>General</c:formatCode>
                <c:ptCount val="6"/>
                <c:pt idx="0">
                  <c:v>71368823</c:v>
                </c:pt>
                <c:pt idx="1">
                  <c:v>22258475</c:v>
                </c:pt>
                <c:pt idx="2">
                  <c:v>5750052</c:v>
                </c:pt>
                <c:pt idx="3">
                  <c:v>5017051</c:v>
                </c:pt>
                <c:pt idx="4">
                  <c:v>3288530</c:v>
                </c:pt>
                <c:pt idx="5">
                  <c:v>2374435</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pt idx="2">
                    <c:v>Edgewell Personal Care</c:v>
                  </c:pt>
                  <c:pt idx="3">
                    <c:v>Unilever</c:v>
                  </c:pt>
                  <c:pt idx="4">
                    <c:v>Universal Beauty Prods Inc</c:v>
                  </c:pt>
                  <c:pt idx="5">
                    <c:v>Pbg</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A9D6C45-28E1-4B0D-80A6-EC58F2122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610847-1424-4AC1-A0BE-71AB0EE0D8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7E6A5CB-F603-43D5-B920-8E00DD77AC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5266926-78FC-494F-BD92-AEA420F07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5B9B369-1F71-416C-8B8E-C34C009EC4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5F2E891-00C6-4276-B66A-299D133D49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3222549-50F9-47BA-93FF-0770740240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E26C945-C78B-4F0C-B2D7-D74D0D4597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548100000000002</c:v>
                </c:pt>
                <c:pt idx="1">
                  <c:v>12.683999999999999</c:v>
                </c:pt>
                <c:pt idx="2">
                  <c:v>16.350899999999999</c:v>
                </c:pt>
                <c:pt idx="3">
                  <c:v>10.02</c:v>
                </c:pt>
                <c:pt idx="4">
                  <c:v>9.2468000000000004</c:v>
                </c:pt>
              </c:numCache>
            </c:numRef>
          </c:xVal>
          <c:yVal>
            <c:numRef>
              <c:f>Sheet1!$B$2:$B$6</c:f>
              <c:numCache>
                <c:formatCode>General</c:formatCode>
                <c:ptCount val="5"/>
                <c:pt idx="0">
                  <c:v>1.1930000000000001</c:v>
                </c:pt>
                <c:pt idx="1">
                  <c:v>0.81100000000000005</c:v>
                </c:pt>
                <c:pt idx="2">
                  <c:v>0.79200000000000004</c:v>
                </c:pt>
                <c:pt idx="3">
                  <c:v>0.77600000000000002</c:v>
                </c:pt>
                <c:pt idx="4">
                  <c:v>0.57199999999999995</c:v>
                </c:pt>
              </c:numCache>
            </c:numRef>
          </c:yVal>
          <c:bubbleSize>
            <c:numRef>
              <c:f>Sheet1!$C$2:$C$6</c:f>
              <c:numCache>
                <c:formatCode>General</c:formatCode>
                <c:ptCount val="5"/>
                <c:pt idx="0">
                  <c:v>505308261</c:v>
                </c:pt>
                <c:pt idx="1">
                  <c:v>116928743</c:v>
                </c:pt>
                <c:pt idx="2">
                  <c:v>30738117</c:v>
                </c:pt>
                <c:pt idx="3">
                  <c:v>17321957</c:v>
                </c:pt>
                <c:pt idx="4">
                  <c:v>14838592</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pt idx="2">
                    <c:v>Edgewell Personal Care</c:v>
                  </c:pt>
                  <c:pt idx="3">
                    <c:v>Unilever</c:v>
                  </c:pt>
                  <c:pt idx="4">
                    <c:v>Pbg</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02B07DB-B8B1-452C-85DD-C2B356F9A8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C3DAABEC-9204-47C2-907E-0568107A27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43AA746-1C99-4574-8CD0-7B4428FEE0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FA0240D-F6D0-45E5-AC7F-5B4CF800A4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DB8986A-6513-4E15-9CBE-9C2CA77C87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04C2CBE-C6F3-48B1-8278-F012376C35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8B93240-08CA-4508-8241-202948A36B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4677DD5-462E-4006-AEB7-F1791E17ED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8.664000000000001</c:v>
                </c:pt>
              </c:numCache>
            </c:numRef>
          </c:xVal>
          <c:yVal>
            <c:numRef>
              <c:f>Sheet1!$B$2:$B$2</c:f>
              <c:numCache>
                <c:formatCode>General</c:formatCode>
                <c:ptCount val="1"/>
                <c:pt idx="0">
                  <c:v>1</c:v>
                </c:pt>
              </c:numCache>
            </c:numRef>
          </c:yVal>
          <c:bubbleSize>
            <c:numRef>
              <c:f>Sheet1!$C$2:$C$2</c:f>
              <c:numCache>
                <c:formatCode>General</c:formatCode>
                <c:ptCount val="1"/>
                <c:pt idx="0">
                  <c:v>71378767</c:v>
                </c:pt>
              </c:numCache>
            </c:numRef>
          </c:bubbleSize>
          <c:bubble3D val="0"/>
          <c:extLst>
            <c:ext xmlns:c15="http://schemas.microsoft.com/office/drawing/2012/chart" uri="{02D57815-91ED-43cb-92C2-25804820EDAC}">
              <c15:datalabelsRange>
                <c15:f>Sheet1!$E$2:$E$10</c15:f>
                <c15:dlblRangeCache>
                  <c:ptCount val="9"/>
                  <c:pt idx="0">
                    <c:v>Procter &amp; Gambl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6483746-F7DF-4D59-B91E-7698AB230E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FE685BA-EADD-4BC2-AA51-EC83309532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9684C37-2508-4031-AAE0-BAD9D0D0A2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0ADA302-55D0-4008-AEE3-2B66880EA5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F1CE4C8-4130-473E-A4A9-C841189CF4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43AAC3E-A023-461F-81E3-E03BD4E29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538F14A-6030-4AE3-9326-D2EEC0C8A3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748B1A7-95AB-41AB-B618-FC583BFC77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0.7758</c:v>
                </c:pt>
                <c:pt idx="1">
                  <c:v>12.6654</c:v>
                </c:pt>
                <c:pt idx="2">
                  <c:v>17.343399999999999</c:v>
                </c:pt>
                <c:pt idx="3">
                  <c:v>11.0656</c:v>
                </c:pt>
                <c:pt idx="4">
                  <c:v>10.835800000000001</c:v>
                </c:pt>
                <c:pt idx="5">
                  <c:v>2.9802</c:v>
                </c:pt>
              </c:numCache>
            </c:numRef>
          </c:xVal>
          <c:yVal>
            <c:numRef>
              <c:f>Sheet1!$B$2:$B$7</c:f>
              <c:numCache>
                <c:formatCode>General</c:formatCode>
                <c:ptCount val="6"/>
                <c:pt idx="0">
                  <c:v>1.3759999999999999</c:v>
                </c:pt>
                <c:pt idx="1">
                  <c:v>0.86699999999999999</c:v>
                </c:pt>
                <c:pt idx="2">
                  <c:v>0.88100000000000001</c:v>
                </c:pt>
                <c:pt idx="3">
                  <c:v>0.83</c:v>
                </c:pt>
                <c:pt idx="4">
                  <c:v>0.78200000000000003</c:v>
                </c:pt>
                <c:pt idx="5">
                  <c:v>0.113</c:v>
                </c:pt>
              </c:numCache>
            </c:numRef>
          </c:yVal>
          <c:bubbleSize>
            <c:numRef>
              <c:f>Sheet1!$C$2:$C$7</c:f>
              <c:numCache>
                <c:formatCode>General</c:formatCode>
                <c:ptCount val="6"/>
                <c:pt idx="0">
                  <c:v>118612656</c:v>
                </c:pt>
                <c:pt idx="1">
                  <c:v>46786767</c:v>
                </c:pt>
                <c:pt idx="2">
                  <c:v>8929285</c:v>
                </c:pt>
                <c:pt idx="3">
                  <c:v>7744393</c:v>
                </c:pt>
                <c:pt idx="4">
                  <c:v>7538618</c:v>
                </c:pt>
                <c:pt idx="5">
                  <c:v>2597426</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pt idx="2">
                    <c:v>Edgewell Personal Care</c:v>
                  </c:pt>
                  <c:pt idx="3">
                    <c:v>Unilever</c:v>
                  </c:pt>
                  <c:pt idx="4">
                    <c:v>Pbg</c:v>
                  </c:pt>
                  <c:pt idx="5">
                    <c:v>Universal Beauty Prods In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Edgewell Personal Care</c:v>
                  </c:pt>
                  <c:pt idx="2">
                    <c:v>Total</c:v>
                  </c:pt>
                  <c:pt idx="3">
                    <c:v>Edgewell Personal Care</c:v>
                  </c:pt>
                  <c:pt idx="4">
                    <c:v>Total</c:v>
                  </c:pt>
                  <c:pt idx="5">
                    <c:v>Edgewell Personal Care</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463.1</c:v>
                </c:pt>
                <c:pt idx="1">
                  <c:v>65.5</c:v>
                </c:pt>
                <c:pt idx="2">
                  <c:v>690.8</c:v>
                </c:pt>
                <c:pt idx="3">
                  <c:v>30.7</c:v>
                </c:pt>
                <c:pt idx="4">
                  <c:v>334.1</c:v>
                </c:pt>
                <c:pt idx="5">
                  <c:v>21.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2.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FF5C-4659-B3DD-A3B5E1DC0715}"/>
                </c:ext>
              </c:extLst>
            </c:dLbl>
            <c:dLbl>
              <c:idx val="5"/>
              <c:tx>
                <c:rich>
                  <a:bodyPr/>
                  <a:lstStyle/>
                  <a:p>
                    <a:r>
                      <a:t>3.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FF5C-4659-B3DD-A3B5E1DC071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Edgewell Personal Care</c:v>
                  </c:pt>
                  <c:pt idx="2">
                    <c:v>Total</c:v>
                  </c:pt>
                  <c:pt idx="3">
                    <c:v>Edgewell Personal Care</c:v>
                  </c:pt>
                  <c:pt idx="4">
                    <c:v>Total</c:v>
                  </c:pt>
                  <c:pt idx="5">
                    <c:v>Edgewell Personal Care</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99619999999999997</c:v>
                </c:pt>
                <c:pt idx="1">
                  <c:v>1.0993999999999999</c:v>
                </c:pt>
                <c:pt idx="2">
                  <c:v>2.8473000000000002</c:v>
                </c:pt>
                <c:pt idx="3">
                  <c:v>2.2541000000000002</c:v>
                </c:pt>
                <c:pt idx="4">
                  <c:v>4.9779999999999998</c:v>
                </c:pt>
                <c:pt idx="5">
                  <c:v>3.221699999999999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00534017-3781-4F60-852B-9FB972720E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FEA78360-9ABD-4FCF-BFF7-6E2F313B6E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7DC06657-0159-409C-B353-019D38DB0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A4B061EB-3C84-4970-8B44-B079AD7495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61DF2D2F-A975-432B-B4B1-A1E63FE094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1A799328-C5DC-446E-B745-247291E262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47FF3321-E89C-4104-B772-71086CF7F6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D1D9EE24-A41F-4F7C-8ACE-414077DB0E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0.517799999999999</c:v>
                </c:pt>
                <c:pt idx="1">
                  <c:v>5.4038000000000004</c:v>
                </c:pt>
                <c:pt idx="2">
                  <c:v>9.1806999999999999</c:v>
                </c:pt>
                <c:pt idx="3">
                  <c:v>3.3511000000000002</c:v>
                </c:pt>
                <c:pt idx="4">
                  <c:v>4.0956000000000001</c:v>
                </c:pt>
                <c:pt idx="5">
                  <c:v>2.5627</c:v>
                </c:pt>
              </c:numCache>
            </c:numRef>
          </c:xVal>
          <c:yVal>
            <c:numRef>
              <c:f>Sheet1!$B$2:$B$7</c:f>
              <c:numCache>
                <c:formatCode>General</c:formatCode>
                <c:ptCount val="6"/>
                <c:pt idx="0">
                  <c:v>1.2330000000000001</c:v>
                </c:pt>
                <c:pt idx="1">
                  <c:v>0.91200000000000003</c:v>
                </c:pt>
                <c:pt idx="2">
                  <c:v>1.1040000000000001</c:v>
                </c:pt>
                <c:pt idx="3">
                  <c:v>0.54700000000000004</c:v>
                </c:pt>
                <c:pt idx="4">
                  <c:v>0.69399999999999995</c:v>
                </c:pt>
                <c:pt idx="5">
                  <c:v>0.34899999999999998</c:v>
                </c:pt>
              </c:numCache>
            </c:numRef>
          </c:yVal>
          <c:bubbleSize>
            <c:numRef>
              <c:f>Sheet1!$C$2:$C$7</c:f>
              <c:numCache>
                <c:formatCode>General</c:formatCode>
                <c:ptCount val="6"/>
                <c:pt idx="0">
                  <c:v>248713657</c:v>
                </c:pt>
                <c:pt idx="1">
                  <c:v>86472426</c:v>
                </c:pt>
                <c:pt idx="2">
                  <c:v>65459695</c:v>
                </c:pt>
                <c:pt idx="3">
                  <c:v>25060210</c:v>
                </c:pt>
                <c:pt idx="4">
                  <c:v>23257539</c:v>
                </c:pt>
                <c:pt idx="5">
                  <c:v>8075661</c:v>
                </c:pt>
              </c:numCache>
            </c:numRef>
          </c:bubbleSize>
          <c:bubble3D val="0"/>
          <c:extLst>
            <c:ext xmlns:c15="http://schemas.microsoft.com/office/drawing/2012/chart" uri="{02D57815-91ED-43cb-92C2-25804820EDAC}">
              <c15:datalabelsRange>
                <c15:f>Sheet1!$E$2:$E$10</c15:f>
                <c15:dlblRangeCache>
                  <c:ptCount val="9"/>
                  <c:pt idx="0">
                    <c:v>Gillette</c:v>
                  </c:pt>
                  <c:pt idx="1">
                    <c:v>Bic</c:v>
                  </c:pt>
                  <c:pt idx="2">
                    <c:v>Schick</c:v>
                  </c:pt>
                  <c:pt idx="3">
                    <c:v>Equate</c:v>
                  </c:pt>
                  <c:pt idx="4">
                    <c:v>Pbg Pl</c:v>
                  </c:pt>
                  <c:pt idx="5">
                    <c:v>Private Label</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Edgewell Personal Care</c:v>
                  </c:pt>
                  <c:pt idx="2">
                    <c:v>Total</c:v>
                  </c:pt>
                  <c:pt idx="3">
                    <c:v>Edgewell Personal Care</c:v>
                  </c:pt>
                  <c:pt idx="4">
                    <c:v>Total</c:v>
                  </c:pt>
                  <c:pt idx="5">
                    <c:v>Edgewell Personal Care</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31.5</c:v>
                </c:pt>
                <c:pt idx="1">
                  <c:v>11.8</c:v>
                </c:pt>
                <c:pt idx="2">
                  <c:v>71.400000000000006</c:v>
                </c:pt>
                <c:pt idx="3">
                  <c:v>0</c:v>
                </c:pt>
                <c:pt idx="4">
                  <c:v>18.100000000000001</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0.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EAD5-4FCD-A507-980F0187D19C}"/>
                </c:ext>
              </c:extLst>
            </c:dLbl>
            <c:dLbl>
              <c:idx val="5"/>
              <c:tx>
                <c:rich>
                  <a:bodyPr/>
                  <a:lstStyle/>
                  <a:p>
                    <a:r>
                      <a:t>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EAD5-4FCD-A507-980F0187D19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Edgewell Personal Care</c:v>
                  </c:pt>
                  <c:pt idx="2">
                    <c:v>Total</c:v>
                  </c:pt>
                  <c:pt idx="3">
                    <c:v>Edgewell Personal Care</c:v>
                  </c:pt>
                  <c:pt idx="4">
                    <c:v>Total</c:v>
                  </c:pt>
                  <c:pt idx="5">
                    <c:v>Edgewell Personal Care</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72850000000000004</c:v>
                </c:pt>
                <c:pt idx="1">
                  <c:v>0.90680000000000005</c:v>
                </c:pt>
                <c:pt idx="2">
                  <c:v>2.2970999999999999</c:v>
                </c:pt>
                <c:pt idx="3">
                  <c:v>0</c:v>
                </c:pt>
                <c:pt idx="4">
                  <c:v>3.1465000000000001</c:v>
                </c:pt>
                <c:pt idx="5">
                  <c:v>1.80119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Edgewell Personal Care</c:v>
                  </c:pt>
                  <c:pt idx="2">
                    <c:v>Total</c:v>
                  </c:pt>
                  <c:pt idx="3">
                    <c:v>Edgewell Personal Care</c:v>
                  </c:pt>
                  <c:pt idx="4">
                    <c:v>Total</c:v>
                  </c:pt>
                  <c:pt idx="5">
                    <c:v>Edgewell Personal Care</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161.80000000000001</c:v>
                </c:pt>
                <c:pt idx="1">
                  <c:v>19.100000000000001</c:v>
                </c:pt>
                <c:pt idx="2">
                  <c:v>192.2</c:v>
                </c:pt>
                <c:pt idx="3">
                  <c:v>8.9</c:v>
                </c:pt>
                <c:pt idx="4">
                  <c:v>110.1</c:v>
                </c:pt>
                <c:pt idx="5">
                  <c:v>5.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2.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4.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FFD2-47F9-8C2E-7347E3FA9700}"/>
                </c:ext>
              </c:extLst>
            </c:dLbl>
            <c:dLbl>
              <c:idx val="5"/>
              <c:tx>
                <c:rich>
                  <a:bodyPr/>
                  <a:lstStyle/>
                  <a:p>
                    <a:r>
                      <a:t>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FFD2-47F9-8C2E-7347E3FA970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Edgewell Personal Care</c:v>
                  </c:pt>
                  <c:pt idx="2">
                    <c:v>Total</c:v>
                  </c:pt>
                  <c:pt idx="3">
                    <c:v>Edgewell Personal Care</c:v>
                  </c:pt>
                  <c:pt idx="4">
                    <c:v>Total</c:v>
                  </c:pt>
                  <c:pt idx="5">
                    <c:v>Edgewell Personal Care</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9284</c:v>
                </c:pt>
                <c:pt idx="1">
                  <c:v>0.98740000000000006</c:v>
                </c:pt>
                <c:pt idx="2">
                  <c:v>2.6341000000000001</c:v>
                </c:pt>
                <c:pt idx="3">
                  <c:v>2.3195999999999999</c:v>
                </c:pt>
                <c:pt idx="4">
                  <c:v>4.7678000000000003</c:v>
                </c:pt>
                <c:pt idx="5">
                  <c:v>3.201499999999999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Schick</c:v>
                  </c:pt>
                  <c:pt idx="2">
                    <c:v>Total</c:v>
                  </c:pt>
                  <c:pt idx="3">
                    <c:v>Schick</c:v>
                  </c:pt>
                  <c:pt idx="4">
                    <c:v>Total</c:v>
                  </c:pt>
                  <c:pt idx="5">
                    <c:v>Schick</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463.1</c:v>
                </c:pt>
                <c:pt idx="1">
                  <c:v>65.5</c:v>
                </c:pt>
                <c:pt idx="2">
                  <c:v>690.8</c:v>
                </c:pt>
                <c:pt idx="3">
                  <c:v>28.9</c:v>
                </c:pt>
                <c:pt idx="4">
                  <c:v>334.1</c:v>
                </c:pt>
                <c:pt idx="5">
                  <c:v>20.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2.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60FA-4191-B084-53C36C28D549}"/>
                </c:ext>
              </c:extLst>
            </c:dLbl>
            <c:dLbl>
              <c:idx val="5"/>
              <c:tx>
                <c:rich>
                  <a:bodyPr/>
                  <a:lstStyle/>
                  <a:p>
                    <a:r>
                      <a:t>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60FA-4191-B084-53C36C28D54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Schick</c:v>
                  </c:pt>
                  <c:pt idx="2">
                    <c:v>Total</c:v>
                  </c:pt>
                  <c:pt idx="3">
                    <c:v>Schick</c:v>
                  </c:pt>
                  <c:pt idx="4">
                    <c:v>Total</c:v>
                  </c:pt>
                  <c:pt idx="5">
                    <c:v>Schick</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99619999999999997</c:v>
                </c:pt>
                <c:pt idx="1">
                  <c:v>1.0993999999999999</c:v>
                </c:pt>
                <c:pt idx="2">
                  <c:v>2.8473000000000002</c:v>
                </c:pt>
                <c:pt idx="3">
                  <c:v>2.2757000000000001</c:v>
                </c:pt>
                <c:pt idx="4">
                  <c:v>4.9779999999999998</c:v>
                </c:pt>
                <c:pt idx="5">
                  <c:v>3.146799999999999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Equate</c:v>
                  </c:pt>
                  <c:pt idx="2">
                    <c:v>Total</c:v>
                  </c:pt>
                  <c:pt idx="3">
                    <c:v>Equate</c:v>
                  </c:pt>
                  <c:pt idx="4">
                    <c:v>Total</c:v>
                  </c:pt>
                  <c:pt idx="5">
                    <c:v>Equate</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463.1</c:v>
                </c:pt>
                <c:pt idx="1">
                  <c:v>25.1</c:v>
                </c:pt>
                <c:pt idx="2">
                  <c:v>690.8</c:v>
                </c:pt>
                <c:pt idx="3">
                  <c:v>7.6</c:v>
                </c:pt>
                <c:pt idx="4">
                  <c:v>334.1</c:v>
                </c:pt>
                <c:pt idx="5">
                  <c:v>2.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2.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66E1-4878-AC1B-4B3DB6B07B96}"/>
                </c:ext>
              </c:extLst>
            </c:dLbl>
            <c:dLbl>
              <c:idx val="5"/>
              <c:tx>
                <c:rich>
                  <a:bodyPr/>
                  <a:lstStyle/>
                  <a:p>
                    <a:r>
                      <a:t>4.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66E1-4878-AC1B-4B3DB6B07B9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Equate</c:v>
                  </c:pt>
                  <c:pt idx="2">
                    <c:v>Total</c:v>
                  </c:pt>
                  <c:pt idx="3">
                    <c:v>Equate</c:v>
                  </c:pt>
                  <c:pt idx="4">
                    <c:v>Total</c:v>
                  </c:pt>
                  <c:pt idx="5">
                    <c:v>Equate</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99619999999999997</c:v>
                </c:pt>
                <c:pt idx="1">
                  <c:v>0.54459999999999997</c:v>
                </c:pt>
                <c:pt idx="2">
                  <c:v>2.8473000000000002</c:v>
                </c:pt>
                <c:pt idx="3">
                  <c:v>2.0587</c:v>
                </c:pt>
                <c:pt idx="4">
                  <c:v>4.9779999999999998</c:v>
                </c:pt>
                <c:pt idx="5">
                  <c:v>4.219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Cremo</c:v>
                  </c:pt>
                  <c:pt idx="2">
                    <c:v>Total</c:v>
                  </c:pt>
                  <c:pt idx="3">
                    <c:v>Cremo</c:v>
                  </c:pt>
                  <c:pt idx="4">
                    <c:v>Total</c:v>
                  </c:pt>
                  <c:pt idx="5">
                    <c:v>Cremo</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463.1</c:v>
                </c:pt>
                <c:pt idx="1">
                  <c:v>0</c:v>
                </c:pt>
                <c:pt idx="2">
                  <c:v>690.8</c:v>
                </c:pt>
                <c:pt idx="3">
                  <c:v>1.1000000000000001</c:v>
                </c:pt>
                <c:pt idx="4">
                  <c:v>334.1</c:v>
                </c:pt>
                <c:pt idx="5">
                  <c:v>0.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3.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B930-44C1-A8D6-90A6F3F2992B}"/>
                </c:ext>
              </c:extLst>
            </c:dLbl>
            <c:dLbl>
              <c:idx val="5"/>
              <c:tx>
                <c:rich>
                  <a:bodyPr/>
                  <a:lstStyle/>
                  <a:p>
                    <a:r>
                      <a:t>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B930-44C1-A8D6-90A6F3F2992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Cremo</c:v>
                  </c:pt>
                  <c:pt idx="2">
                    <c:v>Total</c:v>
                  </c:pt>
                  <c:pt idx="3">
                    <c:v>Cremo</c:v>
                  </c:pt>
                  <c:pt idx="4">
                    <c:v>Total</c:v>
                  </c:pt>
                  <c:pt idx="5">
                    <c:v>Cremo</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99619999999999997</c:v>
                </c:pt>
                <c:pt idx="1">
                  <c:v>0</c:v>
                </c:pt>
                <c:pt idx="2">
                  <c:v>2.8473000000000002</c:v>
                </c:pt>
                <c:pt idx="3">
                  <c:v>3.1802999999999999</c:v>
                </c:pt>
                <c:pt idx="4">
                  <c:v>4.9779999999999998</c:v>
                </c:pt>
                <c:pt idx="5">
                  <c:v>5.49690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Schick</c:v>
                  </c:pt>
                  <c:pt idx="2">
                    <c:v>Total</c:v>
                  </c:pt>
                  <c:pt idx="3">
                    <c:v>Schick</c:v>
                  </c:pt>
                  <c:pt idx="4">
                    <c:v>Total</c:v>
                  </c:pt>
                  <c:pt idx="5">
                    <c:v>Schick</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31.5</c:v>
                </c:pt>
                <c:pt idx="1">
                  <c:v>11.8</c:v>
                </c:pt>
                <c:pt idx="2">
                  <c:v>71.400000000000006</c:v>
                </c:pt>
                <c:pt idx="3">
                  <c:v>0</c:v>
                </c:pt>
                <c:pt idx="4">
                  <c:v>18.100000000000001</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0.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B42A-4E4F-B64C-37D1C73DD119}"/>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B42A-4E4F-B64C-37D1C73DD11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Schick</c:v>
                  </c:pt>
                  <c:pt idx="2">
                    <c:v>Total</c:v>
                  </c:pt>
                  <c:pt idx="3">
                    <c:v>Schick</c:v>
                  </c:pt>
                  <c:pt idx="4">
                    <c:v>Total</c:v>
                  </c:pt>
                  <c:pt idx="5">
                    <c:v>Schick</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72850000000000004</c:v>
                </c:pt>
                <c:pt idx="1">
                  <c:v>0.90680000000000005</c:v>
                </c:pt>
                <c:pt idx="2">
                  <c:v>2.2970999999999999</c:v>
                </c:pt>
                <c:pt idx="3">
                  <c:v>0</c:v>
                </c:pt>
                <c:pt idx="4">
                  <c:v>3.1465000000000001</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Cremo</c:v>
                  </c:pt>
                  <c:pt idx="2">
                    <c:v>Total</c:v>
                  </c:pt>
                  <c:pt idx="3">
                    <c:v>Cremo</c:v>
                  </c:pt>
                  <c:pt idx="4">
                    <c:v>Total</c:v>
                  </c:pt>
                  <c:pt idx="5">
                    <c:v>Cremo</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31.5</c:v>
                </c:pt>
                <c:pt idx="1">
                  <c:v>0</c:v>
                </c:pt>
                <c:pt idx="2">
                  <c:v>71.400000000000006</c:v>
                </c:pt>
                <c:pt idx="3">
                  <c:v>0</c:v>
                </c:pt>
                <c:pt idx="4">
                  <c:v>18.100000000000001</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0.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165-4A47-BE8E-0F18F0933440}"/>
                </c:ext>
              </c:extLst>
            </c:dLbl>
            <c:dLbl>
              <c:idx val="5"/>
              <c:tx>
                <c:rich>
                  <a:bodyPr/>
                  <a:lstStyle/>
                  <a:p>
                    <a:r>
                      <a:t>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165-4A47-BE8E-0F18F093344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Cremo</c:v>
                  </c:pt>
                  <c:pt idx="2">
                    <c:v>Total</c:v>
                  </c:pt>
                  <c:pt idx="3">
                    <c:v>Cremo</c:v>
                  </c:pt>
                  <c:pt idx="4">
                    <c:v>Total</c:v>
                  </c:pt>
                  <c:pt idx="5">
                    <c:v>Cremo</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72850000000000004</c:v>
                </c:pt>
                <c:pt idx="1">
                  <c:v>0</c:v>
                </c:pt>
                <c:pt idx="2">
                  <c:v>2.2970999999999999</c:v>
                </c:pt>
                <c:pt idx="3">
                  <c:v>0</c:v>
                </c:pt>
                <c:pt idx="4">
                  <c:v>3.1465000000000001</c:v>
                </c:pt>
                <c:pt idx="5">
                  <c:v>1.80119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Schick</c:v>
                  </c:pt>
                  <c:pt idx="2">
                    <c:v>Total</c:v>
                  </c:pt>
                  <c:pt idx="3">
                    <c:v>Schick</c:v>
                  </c:pt>
                  <c:pt idx="4">
                    <c:v>Total</c:v>
                  </c:pt>
                  <c:pt idx="5">
                    <c:v>Schick</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161.80000000000001</c:v>
                </c:pt>
                <c:pt idx="1">
                  <c:v>19.100000000000001</c:v>
                </c:pt>
                <c:pt idx="2">
                  <c:v>192.2</c:v>
                </c:pt>
                <c:pt idx="3">
                  <c:v>8.9</c:v>
                </c:pt>
                <c:pt idx="4">
                  <c:v>110.1</c:v>
                </c:pt>
                <c:pt idx="5">
                  <c:v>5.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2.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4.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6BB-49C6-A303-5C85B33EECC8}"/>
                </c:ext>
              </c:extLst>
            </c:dLbl>
            <c:dLbl>
              <c:idx val="5"/>
              <c:tx>
                <c:rich>
                  <a:bodyPr/>
                  <a:lstStyle/>
                  <a:p>
                    <a:r>
                      <a:t>3.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6BB-49C6-A303-5C85B33EECC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Schick</c:v>
                  </c:pt>
                  <c:pt idx="2">
                    <c:v>Total</c:v>
                  </c:pt>
                  <c:pt idx="3">
                    <c:v>Schick</c:v>
                  </c:pt>
                  <c:pt idx="4">
                    <c:v>Total</c:v>
                  </c:pt>
                  <c:pt idx="5">
                    <c:v>Schick</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9284</c:v>
                </c:pt>
                <c:pt idx="1">
                  <c:v>0.98740000000000006</c:v>
                </c:pt>
                <c:pt idx="2">
                  <c:v>2.6341000000000001</c:v>
                </c:pt>
                <c:pt idx="3">
                  <c:v>2.3166000000000002</c:v>
                </c:pt>
                <c:pt idx="4">
                  <c:v>4.7678000000000003</c:v>
                </c:pt>
                <c:pt idx="5">
                  <c:v>3.17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Equate</c:v>
                  </c:pt>
                  <c:pt idx="2">
                    <c:v>Total</c:v>
                  </c:pt>
                  <c:pt idx="3">
                    <c:v>Equate</c:v>
                  </c:pt>
                  <c:pt idx="4">
                    <c:v>Total</c:v>
                  </c:pt>
                  <c:pt idx="5">
                    <c:v>Equate</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161.80000000000001</c:v>
                </c:pt>
                <c:pt idx="1">
                  <c:v>24.8</c:v>
                </c:pt>
                <c:pt idx="2">
                  <c:v>192.2</c:v>
                </c:pt>
                <c:pt idx="3">
                  <c:v>7.5</c:v>
                </c:pt>
                <c:pt idx="4">
                  <c:v>110.1</c:v>
                </c:pt>
                <c:pt idx="5">
                  <c:v>2.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2.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4.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6B0F-47C3-B116-67DE664084B4}"/>
                </c:ext>
              </c:extLst>
            </c:dLbl>
            <c:dLbl>
              <c:idx val="5"/>
              <c:tx>
                <c:rich>
                  <a:bodyPr/>
                  <a:lstStyle/>
                  <a:p>
                    <a:r>
                      <a:t>4.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6B0F-47C3-B116-67DE664084B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Equate</c:v>
                  </c:pt>
                  <c:pt idx="2">
                    <c:v>Total</c:v>
                  </c:pt>
                  <c:pt idx="3">
                    <c:v>Equate</c:v>
                  </c:pt>
                  <c:pt idx="4">
                    <c:v>Total</c:v>
                  </c:pt>
                  <c:pt idx="5">
                    <c:v>Equate</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9284</c:v>
                </c:pt>
                <c:pt idx="1">
                  <c:v>0.54459999999999997</c:v>
                </c:pt>
                <c:pt idx="2">
                  <c:v>2.6341000000000001</c:v>
                </c:pt>
                <c:pt idx="3">
                  <c:v>2.0589</c:v>
                </c:pt>
                <c:pt idx="4">
                  <c:v>4.7678000000000003</c:v>
                </c:pt>
                <c:pt idx="5">
                  <c:v>4.219800000000000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Cremo</c:v>
                  </c:pt>
                  <c:pt idx="2">
                    <c:v>Total</c:v>
                  </c:pt>
                  <c:pt idx="3">
                    <c:v>Cremo</c:v>
                  </c:pt>
                  <c:pt idx="4">
                    <c:v>Total</c:v>
                  </c:pt>
                  <c:pt idx="5">
                    <c:v>Cremo</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161.80000000000001</c:v>
                </c:pt>
                <c:pt idx="1">
                  <c:v>0</c:v>
                </c:pt>
                <c:pt idx="2">
                  <c:v>192.2</c:v>
                </c:pt>
                <c:pt idx="3">
                  <c:v>0</c:v>
                </c:pt>
                <c:pt idx="4">
                  <c:v>110.1</c:v>
                </c:pt>
                <c:pt idx="5">
                  <c:v>0.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3.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4.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040-49F5-93CD-8C9C0B7D5A82}"/>
                </c:ext>
              </c:extLst>
            </c:dLbl>
            <c:dLbl>
              <c:idx val="5"/>
              <c:tx>
                <c:rich>
                  <a:bodyPr/>
                  <a:lstStyle/>
                  <a:p>
                    <a:r>
                      <a:t>7.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040-49F5-93CD-8C9C0B7D5A8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Cremo</c:v>
                  </c:pt>
                  <c:pt idx="2">
                    <c:v>Total</c:v>
                  </c:pt>
                  <c:pt idx="3">
                    <c:v>Cremo</c:v>
                  </c:pt>
                  <c:pt idx="4">
                    <c:v>Total</c:v>
                  </c:pt>
                  <c:pt idx="5">
                    <c:v>Cremo</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9284</c:v>
                </c:pt>
                <c:pt idx="1">
                  <c:v>0</c:v>
                </c:pt>
                <c:pt idx="2">
                  <c:v>2.6341000000000001</c:v>
                </c:pt>
                <c:pt idx="3">
                  <c:v>3.3773</c:v>
                </c:pt>
                <c:pt idx="4">
                  <c:v>4.7678000000000003</c:v>
                </c:pt>
                <c:pt idx="5">
                  <c:v>7.394899999999999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53A8C60-3936-4488-AB15-6FE83BB189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C9F1C8A-119D-4837-BC8C-4CAD38A449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A9255CC-F2AE-43CD-B065-1FC41B3764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09BF152-C5F1-401B-80FB-9810E87EAE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D6595B3-F31A-4680-B920-00CCDD50C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EF3287F-27F3-4DC6-A636-54A8E8BA1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AB07259-F904-455E-9133-7DB22B7463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0649F43-749E-4918-8F1E-ECABB4675D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8.288699999999999</c:v>
                </c:pt>
                <c:pt idx="1">
                  <c:v>23.116800000000001</c:v>
                </c:pt>
                <c:pt idx="2">
                  <c:v>9.6452000000000009</c:v>
                </c:pt>
              </c:numCache>
            </c:numRef>
          </c:xVal>
          <c:yVal>
            <c:numRef>
              <c:f>Sheet1!$B$2:$B$4</c:f>
              <c:numCache>
                <c:formatCode>General</c:formatCode>
                <c:ptCount val="3"/>
                <c:pt idx="0">
                  <c:v>1.004</c:v>
                </c:pt>
                <c:pt idx="1">
                  <c:v>0.86499999999999999</c:v>
                </c:pt>
                <c:pt idx="2">
                  <c:v>0.74099999999999999</c:v>
                </c:pt>
              </c:numCache>
            </c:numRef>
          </c:yVal>
          <c:bubbleSize>
            <c:numRef>
              <c:f>Sheet1!$C$2:$C$4</c:f>
              <c:numCache>
                <c:formatCode>General</c:formatCode>
                <c:ptCount val="3"/>
                <c:pt idx="0">
                  <c:v>87444504</c:v>
                </c:pt>
                <c:pt idx="1">
                  <c:v>2025791</c:v>
                </c:pt>
                <c:pt idx="2">
                  <c:v>299</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Schick</c:v>
                  </c:pt>
                  <c:pt idx="2">
                    <c:v>Total</c:v>
                  </c:pt>
                  <c:pt idx="3">
                    <c:v>Schick</c:v>
                  </c:pt>
                </c:lvl>
                <c:lvl>
                  <c:pt idx="0">
                    <c:v>System</c:v>
                  </c:pt>
                  <c:pt idx="2">
                    <c:v>Disposables</c:v>
                  </c:pt>
                </c:lvl>
              </c:multiLvlStrCache>
            </c:multiLvlStrRef>
          </c:cat>
          <c:val>
            <c:numRef>
              <c:f>Sheet1!$C$2:$C$5</c:f>
              <c:numCache>
                <c:formatCode>General</c:formatCode>
                <c:ptCount val="4"/>
                <c:pt idx="0">
                  <c:v>1082.2</c:v>
                </c:pt>
                <c:pt idx="1">
                  <c:v>49.4</c:v>
                </c:pt>
                <c:pt idx="2">
                  <c:v>463.1</c:v>
                </c:pt>
                <c:pt idx="3">
                  <c:v>65.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3.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CFF2-48B2-A15F-EA577952BC2B}"/>
                </c:ext>
              </c:extLst>
            </c:dLbl>
            <c:dLbl>
              <c:idx val="1"/>
              <c:tx>
                <c:rich>
                  <a:bodyPr/>
                  <a:lstStyle/>
                  <a:p>
                    <a:r>
                      <a:t>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CFF2-48B2-A15F-EA577952BC2B}"/>
                </c:ext>
              </c:extLst>
            </c:dLbl>
            <c:dLbl>
              <c:idx val="2"/>
              <c:tx>
                <c:rich>
                  <a:bodyPr/>
                  <a:lstStyle/>
                  <a:p>
                    <a:r>
                      <a:t>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CFF2-48B2-A15F-EA577952BC2B}"/>
                </c:ext>
              </c:extLst>
            </c:dLbl>
            <c:dLbl>
              <c:idx val="3"/>
              <c:tx>
                <c:rich>
                  <a:bodyPr/>
                  <a:lstStyle/>
                  <a:p>
                    <a:r>
                      <a:t>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CFF2-48B2-A15F-EA577952BC2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Schick</c:v>
                  </c:pt>
                  <c:pt idx="2">
                    <c:v>Total</c:v>
                  </c:pt>
                  <c:pt idx="3">
                    <c:v>Schick</c:v>
                  </c:pt>
                </c:lvl>
                <c:lvl>
                  <c:pt idx="0">
                    <c:v>System</c:v>
                  </c:pt>
                  <c:pt idx="2">
                    <c:v>Disposables</c:v>
                  </c:pt>
                </c:lvl>
              </c:multiLvlStrCache>
            </c:multiLvlStrRef>
          </c:cat>
          <c:val>
            <c:numRef>
              <c:f>Sheet1!$D$2:$D$5</c:f>
              <c:numCache>
                <c:formatCode>General</c:formatCode>
                <c:ptCount val="4"/>
                <c:pt idx="0">
                  <c:v>3.0737999999999999</c:v>
                </c:pt>
                <c:pt idx="1">
                  <c:v>2.5708000000000002</c:v>
                </c:pt>
                <c:pt idx="2">
                  <c:v>0.99619999999999997</c:v>
                </c:pt>
                <c:pt idx="3">
                  <c:v>1.09939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Equate</c:v>
                  </c:pt>
                  <c:pt idx="2">
                    <c:v>Total</c:v>
                  </c:pt>
                  <c:pt idx="3">
                    <c:v>Equate</c:v>
                  </c:pt>
                </c:lvl>
                <c:lvl>
                  <c:pt idx="0">
                    <c:v>System</c:v>
                  </c:pt>
                  <c:pt idx="2">
                    <c:v>Disposables</c:v>
                  </c:pt>
                </c:lvl>
              </c:multiLvlStrCache>
            </c:multiLvlStrRef>
          </c:cat>
          <c:val>
            <c:numRef>
              <c:f>Sheet1!$C$2:$C$5</c:f>
              <c:numCache>
                <c:formatCode>General</c:formatCode>
                <c:ptCount val="4"/>
                <c:pt idx="0">
                  <c:v>1082.2</c:v>
                </c:pt>
                <c:pt idx="1">
                  <c:v>10</c:v>
                </c:pt>
                <c:pt idx="2">
                  <c:v>463.1</c:v>
                </c:pt>
                <c:pt idx="3">
                  <c:v>25.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3.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046D-4C7F-859A-2D2AA7199DB4}"/>
                </c:ext>
              </c:extLst>
            </c:dLbl>
            <c:dLbl>
              <c:idx val="1"/>
              <c:tx>
                <c:rich>
                  <a:bodyPr/>
                  <a:lstStyle/>
                  <a:p>
                    <a:r>
                      <a:t>2.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046D-4C7F-859A-2D2AA7199DB4}"/>
                </c:ext>
              </c:extLst>
            </c:dLbl>
            <c:dLbl>
              <c:idx val="2"/>
              <c:tx>
                <c:rich>
                  <a:bodyPr/>
                  <a:lstStyle/>
                  <a:p>
                    <a:r>
                      <a:t>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046D-4C7F-859A-2D2AA7199DB4}"/>
                </c:ext>
              </c:extLst>
            </c:dLbl>
            <c:dLbl>
              <c:idx val="3"/>
              <c:tx>
                <c:rich>
                  <a:bodyPr/>
                  <a:lstStyle/>
                  <a:p>
                    <a:r>
                      <a:t>0.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046D-4C7F-859A-2D2AA7199DB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Equate</c:v>
                  </c:pt>
                  <c:pt idx="2">
                    <c:v>Total</c:v>
                  </c:pt>
                  <c:pt idx="3">
                    <c:v>Equate</c:v>
                  </c:pt>
                </c:lvl>
                <c:lvl>
                  <c:pt idx="0">
                    <c:v>System</c:v>
                  </c:pt>
                  <c:pt idx="2">
                    <c:v>Disposables</c:v>
                  </c:pt>
                </c:lvl>
              </c:multiLvlStrCache>
            </c:multiLvlStrRef>
          </c:cat>
          <c:val>
            <c:numRef>
              <c:f>Sheet1!$D$2:$D$5</c:f>
              <c:numCache>
                <c:formatCode>General</c:formatCode>
                <c:ptCount val="4"/>
                <c:pt idx="0">
                  <c:v>3.0737999999999999</c:v>
                </c:pt>
                <c:pt idx="1">
                  <c:v>2.3466</c:v>
                </c:pt>
                <c:pt idx="2">
                  <c:v>0.99619999999999997</c:v>
                </c:pt>
                <c:pt idx="3">
                  <c:v>0.544599999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Cremo</c:v>
                  </c:pt>
                  <c:pt idx="2">
                    <c:v>Total</c:v>
                  </c:pt>
                  <c:pt idx="3">
                    <c:v>Cremo</c:v>
                  </c:pt>
                </c:lvl>
                <c:lvl>
                  <c:pt idx="0">
                    <c:v>System</c:v>
                  </c:pt>
                  <c:pt idx="2">
                    <c:v>Disposables</c:v>
                  </c:pt>
                </c:lvl>
              </c:multiLvlStrCache>
            </c:multiLvlStrRef>
          </c:cat>
          <c:val>
            <c:numRef>
              <c:f>Sheet1!$C$2:$C$5</c:f>
              <c:numCache>
                <c:formatCode>General</c:formatCode>
                <c:ptCount val="4"/>
                <c:pt idx="0">
                  <c:v>1082.2</c:v>
                </c:pt>
                <c:pt idx="1">
                  <c:v>1.8</c:v>
                </c:pt>
                <c:pt idx="2">
                  <c:v>463.1</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3.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DDC7-4CEE-9424-9065BFB21E07}"/>
                </c:ext>
              </c:extLst>
            </c:dLbl>
            <c:dLbl>
              <c:idx val="1"/>
              <c:tx>
                <c:rich>
                  <a:bodyPr/>
                  <a:lstStyle/>
                  <a:p>
                    <a:r>
                      <a:t>3.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DDC7-4CEE-9424-9065BFB21E07}"/>
                </c:ext>
              </c:extLst>
            </c:dLbl>
            <c:dLbl>
              <c:idx val="2"/>
              <c:tx>
                <c:rich>
                  <a:bodyPr/>
                  <a:lstStyle/>
                  <a:p>
                    <a:r>
                      <a:t>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DDC7-4CEE-9424-9065BFB21E07}"/>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DDC7-4CEE-9424-9065BFB21E0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Cremo</c:v>
                  </c:pt>
                  <c:pt idx="2">
                    <c:v>Total</c:v>
                  </c:pt>
                  <c:pt idx="3">
                    <c:v>Cremo</c:v>
                  </c:pt>
                </c:lvl>
                <c:lvl>
                  <c:pt idx="0">
                    <c:v>System</c:v>
                  </c:pt>
                  <c:pt idx="2">
                    <c:v>Disposables</c:v>
                  </c:pt>
                </c:lvl>
              </c:multiLvlStrCache>
            </c:multiLvlStrRef>
          </c:cat>
          <c:val>
            <c:numRef>
              <c:f>Sheet1!$D$2:$D$5</c:f>
              <c:numCache>
                <c:formatCode>General</c:formatCode>
                <c:ptCount val="4"/>
                <c:pt idx="0">
                  <c:v>3.0737999999999999</c:v>
                </c:pt>
                <c:pt idx="1">
                  <c:v>3.8083</c:v>
                </c:pt>
                <c:pt idx="2">
                  <c:v>0.99619999999999997</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Schick</c:v>
                  </c:pt>
                  <c:pt idx="2">
                    <c:v>Total</c:v>
                  </c:pt>
                  <c:pt idx="3">
                    <c:v>Schick</c:v>
                  </c:pt>
                </c:lvl>
                <c:lvl>
                  <c:pt idx="0">
                    <c:v>System</c:v>
                  </c:pt>
                  <c:pt idx="2">
                    <c:v>Disposables</c:v>
                  </c:pt>
                </c:lvl>
              </c:multiLvlStrCache>
            </c:multiLvlStrRef>
          </c:cat>
          <c:val>
            <c:numRef>
              <c:f>Sheet1!$C$2:$C$5</c:f>
              <c:numCache>
                <c:formatCode>General</c:formatCode>
                <c:ptCount val="4"/>
                <c:pt idx="0">
                  <c:v>89.5</c:v>
                </c:pt>
                <c:pt idx="1">
                  <c:v>0</c:v>
                </c:pt>
                <c:pt idx="2">
                  <c:v>31.5</c:v>
                </c:pt>
                <c:pt idx="3">
                  <c:v>11.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F18F-4A91-B4BC-1410BFCB2964}"/>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F18F-4A91-B4BC-1410BFCB2964}"/>
                </c:ext>
              </c:extLst>
            </c:dLbl>
            <c:dLbl>
              <c:idx val="2"/>
              <c:tx>
                <c:rich>
                  <a:bodyPr/>
                  <a:lstStyle/>
                  <a:p>
                    <a:r>
                      <a:t>0.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F18F-4A91-B4BC-1410BFCB2964}"/>
                </c:ext>
              </c:extLst>
            </c:dLbl>
            <c:dLbl>
              <c:idx val="3"/>
              <c:tx>
                <c:rich>
                  <a:bodyPr/>
                  <a:lstStyle/>
                  <a:p>
                    <a:r>
                      <a:t>0.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F18F-4A91-B4BC-1410BFCB296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Schick</c:v>
                  </c:pt>
                  <c:pt idx="2">
                    <c:v>Total</c:v>
                  </c:pt>
                  <c:pt idx="3">
                    <c:v>Schick</c:v>
                  </c:pt>
                </c:lvl>
                <c:lvl>
                  <c:pt idx="0">
                    <c:v>System</c:v>
                  </c:pt>
                  <c:pt idx="2">
                    <c:v>Disposables</c:v>
                  </c:pt>
                </c:lvl>
              </c:multiLvlStrCache>
            </c:multiLvlStrRef>
          </c:cat>
          <c:val>
            <c:numRef>
              <c:f>Sheet1!$D$2:$D$5</c:f>
              <c:numCache>
                <c:formatCode>General</c:formatCode>
                <c:ptCount val="4"/>
                <c:pt idx="0">
                  <c:v>2.4298999999999999</c:v>
                </c:pt>
                <c:pt idx="1">
                  <c:v>0</c:v>
                </c:pt>
                <c:pt idx="2">
                  <c:v>0.72850000000000004</c:v>
                </c:pt>
                <c:pt idx="3">
                  <c:v>0.9068000000000000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Cremo</c:v>
                  </c:pt>
                  <c:pt idx="2">
                    <c:v>Total</c:v>
                  </c:pt>
                  <c:pt idx="3">
                    <c:v>Cremo</c:v>
                  </c:pt>
                </c:lvl>
                <c:lvl>
                  <c:pt idx="0">
                    <c:v>System</c:v>
                  </c:pt>
                  <c:pt idx="2">
                    <c:v>Disposables</c:v>
                  </c:pt>
                </c:lvl>
              </c:multiLvlStrCache>
            </c:multiLvlStrRef>
          </c:cat>
          <c:val>
            <c:numRef>
              <c:f>Sheet1!$C$2:$C$5</c:f>
              <c:numCache>
                <c:formatCode>General</c:formatCode>
                <c:ptCount val="4"/>
                <c:pt idx="0">
                  <c:v>89.5</c:v>
                </c:pt>
                <c:pt idx="1">
                  <c:v>0</c:v>
                </c:pt>
                <c:pt idx="2">
                  <c:v>31.5</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717-46C3-BEAF-6D4C90395F00}"/>
                </c:ext>
              </c:extLst>
            </c:dLbl>
            <c:dLbl>
              <c:idx val="1"/>
              <c:tx>
                <c:rich>
                  <a:bodyPr/>
                  <a:lstStyle/>
                  <a:p>
                    <a:r>
                      <a:t>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717-46C3-BEAF-6D4C90395F00}"/>
                </c:ext>
              </c:extLst>
            </c:dLbl>
            <c:dLbl>
              <c:idx val="2"/>
              <c:tx>
                <c:rich>
                  <a:bodyPr/>
                  <a:lstStyle/>
                  <a:p>
                    <a:r>
                      <a:t>0.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717-46C3-BEAF-6D4C90395F00}"/>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717-46C3-BEAF-6D4C90395F0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Cremo</c:v>
                  </c:pt>
                  <c:pt idx="2">
                    <c:v>Total</c:v>
                  </c:pt>
                  <c:pt idx="3">
                    <c:v>Cremo</c:v>
                  </c:pt>
                </c:lvl>
                <c:lvl>
                  <c:pt idx="0">
                    <c:v>System</c:v>
                  </c:pt>
                  <c:pt idx="2">
                    <c:v>Disposables</c:v>
                  </c:pt>
                </c:lvl>
              </c:multiLvlStrCache>
            </c:multiLvlStrRef>
          </c:cat>
          <c:val>
            <c:numRef>
              <c:f>Sheet1!$D$2:$D$5</c:f>
              <c:numCache>
                <c:formatCode>General</c:formatCode>
                <c:ptCount val="4"/>
                <c:pt idx="0">
                  <c:v>2.4298999999999999</c:v>
                </c:pt>
                <c:pt idx="1">
                  <c:v>1.8011999999999999</c:v>
                </c:pt>
                <c:pt idx="2">
                  <c:v>0.72850000000000004</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Schick</c:v>
                  </c:pt>
                  <c:pt idx="2">
                    <c:v>Total</c:v>
                  </c:pt>
                  <c:pt idx="3">
                    <c:v>Schick</c:v>
                  </c:pt>
                </c:lvl>
                <c:lvl>
                  <c:pt idx="0">
                    <c:v>System</c:v>
                  </c:pt>
                  <c:pt idx="2">
                    <c:v>Disposables</c:v>
                  </c:pt>
                </c:lvl>
              </c:multiLvlStrCache>
            </c:multiLvlStrRef>
          </c:cat>
          <c:val>
            <c:numRef>
              <c:f>Sheet1!$C$2:$C$5</c:f>
              <c:numCache>
                <c:formatCode>General</c:formatCode>
                <c:ptCount val="4"/>
                <c:pt idx="0">
                  <c:v>329.5</c:v>
                </c:pt>
                <c:pt idx="1">
                  <c:v>14.5</c:v>
                </c:pt>
                <c:pt idx="2">
                  <c:v>161.80000000000001</c:v>
                </c:pt>
                <c:pt idx="3">
                  <c:v>19.10000000000000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BE3-4863-BB12-A14A02D6CDBB}"/>
                </c:ext>
              </c:extLst>
            </c:dLbl>
            <c:dLbl>
              <c:idx val="1"/>
              <c:tx>
                <c:rich>
                  <a:bodyPr/>
                  <a:lstStyle/>
                  <a:p>
                    <a:r>
                      <a:t>2.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BE3-4863-BB12-A14A02D6CDBB}"/>
                </c:ext>
              </c:extLst>
            </c:dLbl>
            <c:dLbl>
              <c:idx val="2"/>
              <c:tx>
                <c:rich>
                  <a:bodyPr/>
                  <a:lstStyle/>
                  <a:p>
                    <a:r>
                      <a:t>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BE3-4863-BB12-A14A02D6CDBB}"/>
                </c:ext>
              </c:extLst>
            </c:dLbl>
            <c:dLbl>
              <c:idx val="3"/>
              <c:tx>
                <c:rich>
                  <a:bodyPr/>
                  <a:lstStyle/>
                  <a:p>
                    <a:r>
                      <a:t>0.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BE3-4863-BB12-A14A02D6CDB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Schick</c:v>
                  </c:pt>
                  <c:pt idx="2">
                    <c:v>Total</c:v>
                  </c:pt>
                  <c:pt idx="3">
                    <c:v>Schick</c:v>
                  </c:pt>
                </c:lvl>
                <c:lvl>
                  <c:pt idx="0">
                    <c:v>System</c:v>
                  </c:pt>
                  <c:pt idx="2">
                    <c:v>Disposables</c:v>
                  </c:pt>
                </c:lvl>
              </c:multiLvlStrCache>
            </c:multiLvlStrRef>
          </c:cat>
          <c:val>
            <c:numRef>
              <c:f>Sheet1!$D$2:$D$5</c:f>
              <c:numCache>
                <c:formatCode>General</c:formatCode>
                <c:ptCount val="4"/>
                <c:pt idx="0">
                  <c:v>2.8391999999999999</c:v>
                </c:pt>
                <c:pt idx="1">
                  <c:v>2.5882999999999998</c:v>
                </c:pt>
                <c:pt idx="2">
                  <c:v>0.9284</c:v>
                </c:pt>
                <c:pt idx="3">
                  <c:v>0.9874000000000000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Equate</c:v>
                  </c:pt>
                  <c:pt idx="2">
                    <c:v>Total</c:v>
                  </c:pt>
                  <c:pt idx="3">
                    <c:v>Equate</c:v>
                  </c:pt>
                </c:lvl>
                <c:lvl>
                  <c:pt idx="0">
                    <c:v>System</c:v>
                  </c:pt>
                  <c:pt idx="2">
                    <c:v>Disposables</c:v>
                  </c:pt>
                </c:lvl>
              </c:multiLvlStrCache>
            </c:multiLvlStrRef>
          </c:cat>
          <c:val>
            <c:numRef>
              <c:f>Sheet1!$C$2:$C$5</c:f>
              <c:numCache>
                <c:formatCode>General</c:formatCode>
                <c:ptCount val="4"/>
                <c:pt idx="0">
                  <c:v>329.5</c:v>
                </c:pt>
                <c:pt idx="1">
                  <c:v>9.9</c:v>
                </c:pt>
                <c:pt idx="2">
                  <c:v>161.80000000000001</c:v>
                </c:pt>
                <c:pt idx="3">
                  <c:v>24.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30A7-48D2-AB0C-71D065EDEFD3}"/>
                </c:ext>
              </c:extLst>
            </c:dLbl>
            <c:dLbl>
              <c:idx val="1"/>
              <c:tx>
                <c:rich>
                  <a:bodyPr/>
                  <a:lstStyle/>
                  <a:p>
                    <a:r>
                      <a:t>2.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30A7-48D2-AB0C-71D065EDEFD3}"/>
                </c:ext>
              </c:extLst>
            </c:dLbl>
            <c:dLbl>
              <c:idx val="2"/>
              <c:tx>
                <c:rich>
                  <a:bodyPr/>
                  <a:lstStyle/>
                  <a:p>
                    <a:r>
                      <a:t>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30A7-48D2-AB0C-71D065EDEFD3}"/>
                </c:ext>
              </c:extLst>
            </c:dLbl>
            <c:dLbl>
              <c:idx val="3"/>
              <c:tx>
                <c:rich>
                  <a:bodyPr/>
                  <a:lstStyle/>
                  <a:p>
                    <a:r>
                      <a:t>0.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30A7-48D2-AB0C-71D065EDEFD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Equate</c:v>
                  </c:pt>
                  <c:pt idx="2">
                    <c:v>Total</c:v>
                  </c:pt>
                  <c:pt idx="3">
                    <c:v>Equate</c:v>
                  </c:pt>
                </c:lvl>
                <c:lvl>
                  <c:pt idx="0">
                    <c:v>System</c:v>
                  </c:pt>
                  <c:pt idx="2">
                    <c:v>Disposables</c:v>
                  </c:pt>
                </c:lvl>
              </c:multiLvlStrCache>
            </c:multiLvlStrRef>
          </c:cat>
          <c:val>
            <c:numRef>
              <c:f>Sheet1!$D$2:$D$5</c:f>
              <c:numCache>
                <c:formatCode>General</c:formatCode>
                <c:ptCount val="4"/>
                <c:pt idx="0">
                  <c:v>2.8391999999999999</c:v>
                </c:pt>
                <c:pt idx="1">
                  <c:v>2.3468</c:v>
                </c:pt>
                <c:pt idx="2">
                  <c:v>0.9284</c:v>
                </c:pt>
                <c:pt idx="3">
                  <c:v>0.544599999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Cremo</c:v>
                  </c:pt>
                  <c:pt idx="2">
                    <c:v>Total</c:v>
                  </c:pt>
                  <c:pt idx="3">
                    <c:v>Cremo</c:v>
                  </c:pt>
                </c:lvl>
                <c:lvl>
                  <c:pt idx="0">
                    <c:v>System</c:v>
                  </c:pt>
                  <c:pt idx="2">
                    <c:v>Disposables</c:v>
                  </c:pt>
                </c:lvl>
              </c:multiLvlStrCache>
            </c:multiLvlStrRef>
          </c:cat>
          <c:val>
            <c:numRef>
              <c:f>Sheet1!$C$2:$C$5</c:f>
              <c:numCache>
                <c:formatCode>General</c:formatCode>
                <c:ptCount val="4"/>
                <c:pt idx="0">
                  <c:v>329.5</c:v>
                </c:pt>
                <c:pt idx="1">
                  <c:v>0.1</c:v>
                </c:pt>
                <c:pt idx="2">
                  <c:v>161.80000000000001</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37A-4618-B8CF-E0C702539DD5}"/>
                </c:ext>
              </c:extLst>
            </c:dLbl>
            <c:dLbl>
              <c:idx val="1"/>
              <c:tx>
                <c:rich>
                  <a:bodyPr/>
                  <a:lstStyle/>
                  <a:p>
                    <a:r>
                      <a:t>5.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37A-4618-B8CF-E0C702539DD5}"/>
                </c:ext>
              </c:extLst>
            </c:dLbl>
            <c:dLbl>
              <c:idx val="2"/>
              <c:tx>
                <c:rich>
                  <a:bodyPr/>
                  <a:lstStyle/>
                  <a:p>
                    <a:r>
                      <a:t>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37A-4618-B8CF-E0C702539DD5}"/>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37A-4618-B8CF-E0C702539DD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Cremo</c:v>
                  </c:pt>
                  <c:pt idx="2">
                    <c:v>Total</c:v>
                  </c:pt>
                  <c:pt idx="3">
                    <c:v>Cremo</c:v>
                  </c:pt>
                </c:lvl>
                <c:lvl>
                  <c:pt idx="0">
                    <c:v>System</c:v>
                  </c:pt>
                  <c:pt idx="2">
                    <c:v>Disposables</c:v>
                  </c:pt>
                </c:lvl>
              </c:multiLvlStrCache>
            </c:multiLvlStrRef>
          </c:cat>
          <c:val>
            <c:numRef>
              <c:f>Sheet1!$D$2:$D$5</c:f>
              <c:numCache>
                <c:formatCode>General</c:formatCode>
                <c:ptCount val="4"/>
                <c:pt idx="0">
                  <c:v>2.8391999999999999</c:v>
                </c:pt>
                <c:pt idx="1">
                  <c:v>5.3327</c:v>
                </c:pt>
                <c:pt idx="2">
                  <c:v>0.9284</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F8B1-4708-A259-4A34E6ED9332}"/>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Schick</c:v>
                  </c:pt>
                  <c:pt idx="2">
                    <c:v>Total</c:v>
                  </c:pt>
                  <c:pt idx="3">
                    <c:v>Schick</c:v>
                  </c:pt>
                  <c:pt idx="4">
                    <c:v>Total</c:v>
                  </c:pt>
                  <c:pt idx="5">
                    <c:v>Schick</c:v>
                  </c:pt>
                  <c:pt idx="6">
                    <c:v>Total</c:v>
                  </c:pt>
                  <c:pt idx="7">
                    <c:v>Schick</c:v>
                  </c:pt>
                </c:lvl>
                <c:lvl>
                  <c:pt idx="0">
                    <c:v>Refills</c:v>
                  </c:pt>
                  <c:pt idx="2">
                    <c:v>Disposables</c:v>
                  </c:pt>
                  <c:pt idx="4">
                    <c:v>Razors</c:v>
                  </c:pt>
                  <c:pt idx="6">
                    <c:v>Hybrid</c:v>
                  </c:pt>
                </c:lvl>
              </c:multiLvlStrCache>
            </c:multiLvlStrRef>
          </c:cat>
          <c:val>
            <c:numRef>
              <c:f>Sheet1!$C$2:$C$9</c:f>
              <c:numCache>
                <c:formatCode>General</c:formatCode>
                <c:ptCount val="8"/>
                <c:pt idx="0">
                  <c:v>690.8</c:v>
                </c:pt>
                <c:pt idx="1">
                  <c:v>28.9</c:v>
                </c:pt>
                <c:pt idx="2">
                  <c:v>463.1</c:v>
                </c:pt>
                <c:pt idx="3">
                  <c:v>65.5</c:v>
                </c:pt>
                <c:pt idx="4">
                  <c:v>334.1</c:v>
                </c:pt>
                <c:pt idx="5">
                  <c:v>20.5</c:v>
                </c:pt>
                <c:pt idx="6">
                  <c:v>57.3</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F8B1-4708-A259-4A34E6ED9332}"/>
                </c:ext>
              </c:extLst>
            </c:dLbl>
            <c:dLbl>
              <c:idx val="1"/>
              <c:tx>
                <c:rich>
                  <a:bodyPr/>
                  <a:lstStyle/>
                  <a:p>
                    <a:r>
                      <a:t>2.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F8B1-4708-A259-4A34E6ED9332}"/>
                </c:ext>
              </c:extLst>
            </c:dLbl>
            <c:dLbl>
              <c:idx val="2"/>
              <c:tx>
                <c:rich>
                  <a:bodyPr/>
                  <a:lstStyle/>
                  <a:p>
                    <a:r>
                      <a:t>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F8B1-4708-A259-4A34E6ED9332}"/>
                </c:ext>
              </c:extLst>
            </c:dLbl>
            <c:dLbl>
              <c:idx val="3"/>
              <c:tx>
                <c:rich>
                  <a:bodyPr/>
                  <a:lstStyle/>
                  <a:p>
                    <a:r>
                      <a:t>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F8B1-4708-A259-4A34E6ED9332}"/>
                </c:ext>
              </c:extLst>
            </c:dLbl>
            <c:dLbl>
              <c:idx val="4"/>
              <c:tx>
                <c:rich>
                  <a:bodyPr/>
                  <a:lstStyle/>
                  <a:p>
                    <a:r>
                      <a:t>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F8B1-4708-A259-4A34E6ED9332}"/>
                </c:ext>
              </c:extLst>
            </c:dLbl>
            <c:dLbl>
              <c:idx val="5"/>
              <c:tx>
                <c:rich>
                  <a:bodyPr/>
                  <a:lstStyle/>
                  <a:p>
                    <a:r>
                      <a:t>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F8B1-4708-A259-4A34E6ED9332}"/>
                </c:ext>
              </c:extLst>
            </c:dLbl>
            <c:dLbl>
              <c:idx val="6"/>
              <c:tx>
                <c:rich>
                  <a:bodyPr/>
                  <a:lstStyle/>
                  <a:p>
                    <a:r>
                      <a:t>1.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F8B1-4708-A259-4A34E6ED9332}"/>
                </c:ext>
              </c:extLst>
            </c:dLbl>
            <c:dLbl>
              <c:idx val="7"/>
              <c:tx>
                <c:rich>
                  <a:bodyPr/>
                  <a:lstStyle/>
                  <a:p>
                    <a:r>
                      <a:t>1.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F8B1-4708-A259-4A34E6ED933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Schick</c:v>
                  </c:pt>
                  <c:pt idx="2">
                    <c:v>Total</c:v>
                  </c:pt>
                  <c:pt idx="3">
                    <c:v>Schick</c:v>
                  </c:pt>
                  <c:pt idx="4">
                    <c:v>Total</c:v>
                  </c:pt>
                  <c:pt idx="5">
                    <c:v>Schick</c:v>
                  </c:pt>
                  <c:pt idx="6">
                    <c:v>Total</c:v>
                  </c:pt>
                  <c:pt idx="7">
                    <c:v>Schick</c:v>
                  </c:pt>
                </c:lvl>
                <c:lvl>
                  <c:pt idx="0">
                    <c:v>Refills</c:v>
                  </c:pt>
                  <c:pt idx="2">
                    <c:v>Disposables</c:v>
                  </c:pt>
                  <c:pt idx="4">
                    <c:v>Razors</c:v>
                  </c:pt>
                  <c:pt idx="6">
                    <c:v>Hybrid</c:v>
                  </c:pt>
                </c:lvl>
              </c:multiLvlStrCache>
            </c:multiLvlStrRef>
          </c:cat>
          <c:val>
            <c:numRef>
              <c:f>Sheet1!$D$2:$D$9</c:f>
              <c:numCache>
                <c:formatCode>General</c:formatCode>
                <c:ptCount val="8"/>
                <c:pt idx="0">
                  <c:v>2.8473000000000002</c:v>
                </c:pt>
                <c:pt idx="1">
                  <c:v>2.2757000000000001</c:v>
                </c:pt>
                <c:pt idx="2">
                  <c:v>0.99619999999999997</c:v>
                </c:pt>
                <c:pt idx="3">
                  <c:v>1.0993999999999999</c:v>
                </c:pt>
                <c:pt idx="4">
                  <c:v>4.9779999999999998</c:v>
                </c:pt>
                <c:pt idx="5">
                  <c:v>3.1467999999999998</c:v>
                </c:pt>
                <c:pt idx="6">
                  <c:v>1.353</c:v>
                </c:pt>
                <c:pt idx="7">
                  <c:v>1.70849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05A1-4993-96DC-C3549C4CAFD1}"/>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Equate</c:v>
                  </c:pt>
                  <c:pt idx="2">
                    <c:v>Total</c:v>
                  </c:pt>
                  <c:pt idx="3">
                    <c:v>Equate</c:v>
                  </c:pt>
                  <c:pt idx="4">
                    <c:v>Total</c:v>
                  </c:pt>
                  <c:pt idx="5">
                    <c:v>Equate</c:v>
                  </c:pt>
                  <c:pt idx="6">
                    <c:v>Total</c:v>
                  </c:pt>
                  <c:pt idx="7">
                    <c:v>Equate</c:v>
                  </c:pt>
                </c:lvl>
                <c:lvl>
                  <c:pt idx="0">
                    <c:v>Refills</c:v>
                  </c:pt>
                  <c:pt idx="2">
                    <c:v>Disposables</c:v>
                  </c:pt>
                  <c:pt idx="4">
                    <c:v>Razors</c:v>
                  </c:pt>
                  <c:pt idx="6">
                    <c:v>Hybrid</c:v>
                  </c:pt>
                </c:lvl>
              </c:multiLvlStrCache>
            </c:multiLvlStrRef>
          </c:cat>
          <c:val>
            <c:numRef>
              <c:f>Sheet1!$C$2:$C$9</c:f>
              <c:numCache>
                <c:formatCode>General</c:formatCode>
                <c:ptCount val="8"/>
                <c:pt idx="0">
                  <c:v>690.8</c:v>
                </c:pt>
                <c:pt idx="1">
                  <c:v>7.6</c:v>
                </c:pt>
                <c:pt idx="2">
                  <c:v>463.1</c:v>
                </c:pt>
                <c:pt idx="3">
                  <c:v>25.1</c:v>
                </c:pt>
                <c:pt idx="4">
                  <c:v>334.1</c:v>
                </c:pt>
                <c:pt idx="5">
                  <c:v>2.4</c:v>
                </c:pt>
                <c:pt idx="6">
                  <c:v>57.3</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05A1-4993-96DC-C3549C4CAFD1}"/>
                </c:ext>
              </c:extLst>
            </c:dLbl>
            <c:dLbl>
              <c:idx val="1"/>
              <c:tx>
                <c:rich>
                  <a:bodyPr/>
                  <a:lstStyle/>
                  <a:p>
                    <a:r>
                      <a:t>2.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05A1-4993-96DC-C3549C4CAFD1}"/>
                </c:ext>
              </c:extLst>
            </c:dLbl>
            <c:dLbl>
              <c:idx val="2"/>
              <c:tx>
                <c:rich>
                  <a:bodyPr/>
                  <a:lstStyle/>
                  <a:p>
                    <a:r>
                      <a:t>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05A1-4993-96DC-C3549C4CAFD1}"/>
                </c:ext>
              </c:extLst>
            </c:dLbl>
            <c:dLbl>
              <c:idx val="3"/>
              <c:tx>
                <c:rich>
                  <a:bodyPr/>
                  <a:lstStyle/>
                  <a:p>
                    <a:r>
                      <a:t>0.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05A1-4993-96DC-C3549C4CAFD1}"/>
                </c:ext>
              </c:extLst>
            </c:dLbl>
            <c:dLbl>
              <c:idx val="4"/>
              <c:tx>
                <c:rich>
                  <a:bodyPr/>
                  <a:lstStyle/>
                  <a:p>
                    <a:r>
                      <a:t>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05A1-4993-96DC-C3549C4CAFD1}"/>
                </c:ext>
              </c:extLst>
            </c:dLbl>
            <c:dLbl>
              <c:idx val="5"/>
              <c:tx>
                <c:rich>
                  <a:bodyPr/>
                  <a:lstStyle/>
                  <a:p>
                    <a:r>
                      <a:t>4.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05A1-4993-96DC-C3549C4CAFD1}"/>
                </c:ext>
              </c:extLst>
            </c:dLbl>
            <c:dLbl>
              <c:idx val="6"/>
              <c:tx>
                <c:rich>
                  <a:bodyPr/>
                  <a:lstStyle/>
                  <a:p>
                    <a:r>
                      <a:t>1.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05A1-4993-96DC-C3549C4CAFD1}"/>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05A1-4993-96DC-C3549C4CAFD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Equate</c:v>
                  </c:pt>
                  <c:pt idx="2">
                    <c:v>Total</c:v>
                  </c:pt>
                  <c:pt idx="3">
                    <c:v>Equate</c:v>
                  </c:pt>
                  <c:pt idx="4">
                    <c:v>Total</c:v>
                  </c:pt>
                  <c:pt idx="5">
                    <c:v>Equate</c:v>
                  </c:pt>
                  <c:pt idx="6">
                    <c:v>Total</c:v>
                  </c:pt>
                  <c:pt idx="7">
                    <c:v>Equate</c:v>
                  </c:pt>
                </c:lvl>
                <c:lvl>
                  <c:pt idx="0">
                    <c:v>Refills</c:v>
                  </c:pt>
                  <c:pt idx="2">
                    <c:v>Disposables</c:v>
                  </c:pt>
                  <c:pt idx="4">
                    <c:v>Razors</c:v>
                  </c:pt>
                  <c:pt idx="6">
                    <c:v>Hybrid</c:v>
                  </c:pt>
                </c:lvl>
              </c:multiLvlStrCache>
            </c:multiLvlStrRef>
          </c:cat>
          <c:val>
            <c:numRef>
              <c:f>Sheet1!$D$2:$D$9</c:f>
              <c:numCache>
                <c:formatCode>General</c:formatCode>
                <c:ptCount val="8"/>
                <c:pt idx="0">
                  <c:v>2.8473000000000002</c:v>
                </c:pt>
                <c:pt idx="1">
                  <c:v>2.0587</c:v>
                </c:pt>
                <c:pt idx="2">
                  <c:v>0.99619999999999997</c:v>
                </c:pt>
                <c:pt idx="3">
                  <c:v>0.54459999999999997</c:v>
                </c:pt>
                <c:pt idx="4">
                  <c:v>4.9779999999999998</c:v>
                </c:pt>
                <c:pt idx="5">
                  <c:v>4.2195</c:v>
                </c:pt>
                <c:pt idx="6">
                  <c:v>1.353</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C1A908BB-0D91-478E-8164-8FEF6F0ECB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94B340AD-A744-419D-B331-B5E0ED20EC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99DABF02-B5BA-4E59-BC0F-E36C92B989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34BC8FD4-439E-4715-80B8-7D3713A626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551E325F-4F76-43D9-A011-B02180C2B2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54849D64-19E4-422F-823E-81F2898D84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00426C81-F6B0-4A2E-93EE-0CFC75FFA5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C67D3BE7-8B2F-430F-B516-821912852E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114000000000001</c:v>
                </c:pt>
                <c:pt idx="1">
                  <c:v>18.1432</c:v>
                </c:pt>
                <c:pt idx="2">
                  <c:v>17.2226</c:v>
                </c:pt>
              </c:numCache>
            </c:numRef>
          </c:xVal>
          <c:yVal>
            <c:numRef>
              <c:f>Sheet1!$B$2:$B$4</c:f>
              <c:numCache>
                <c:formatCode>General</c:formatCode>
                <c:ptCount val="3"/>
                <c:pt idx="0">
                  <c:v>0.874</c:v>
                </c:pt>
                <c:pt idx="1">
                  <c:v>1.2450000000000001</c:v>
                </c:pt>
                <c:pt idx="2">
                  <c:v>2.2570000000000001</c:v>
                </c:pt>
              </c:numCache>
            </c:numRef>
          </c:yVal>
          <c:bubbleSize>
            <c:numRef>
              <c:f>Sheet1!$C$2:$C$4</c:f>
              <c:numCache>
                <c:formatCode>General</c:formatCode>
                <c:ptCount val="3"/>
                <c:pt idx="0">
                  <c:v>18840686</c:v>
                </c:pt>
                <c:pt idx="1">
                  <c:v>11787957</c:v>
                </c:pt>
                <c:pt idx="2">
                  <c:v>811701</c:v>
                </c:pt>
              </c:numCache>
            </c:numRef>
          </c:bubbleSize>
          <c:bubble3D val="0"/>
          <c:extLst>
            <c:ext xmlns:c15="http://schemas.microsoft.com/office/drawing/2012/chart" uri="{02D57815-91ED-43cb-92C2-25804820EDAC}">
              <c15:datalabelsRange>
                <c15:f>Sheet1!$E$2:$E$10</c15:f>
                <c15:dlblRangeCache>
                  <c:ptCount val="9"/>
                  <c:pt idx="0">
                    <c:v>Gillette</c:v>
                  </c:pt>
                  <c:pt idx="1">
                    <c:v>Schick</c:v>
                  </c:pt>
                  <c:pt idx="2">
                    <c:v>Bic</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ABCA-4903-A691-85EEE481E50A}"/>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Cremo</c:v>
                  </c:pt>
                  <c:pt idx="2">
                    <c:v>Total</c:v>
                  </c:pt>
                  <c:pt idx="3">
                    <c:v>Cremo</c:v>
                  </c:pt>
                  <c:pt idx="4">
                    <c:v>Total</c:v>
                  </c:pt>
                  <c:pt idx="5">
                    <c:v>Cremo</c:v>
                  </c:pt>
                  <c:pt idx="6">
                    <c:v>Total</c:v>
                  </c:pt>
                  <c:pt idx="7">
                    <c:v>Cremo</c:v>
                  </c:pt>
                </c:lvl>
                <c:lvl>
                  <c:pt idx="0">
                    <c:v>Refills</c:v>
                  </c:pt>
                  <c:pt idx="2">
                    <c:v>Disposables</c:v>
                  </c:pt>
                  <c:pt idx="4">
                    <c:v>Razors</c:v>
                  </c:pt>
                  <c:pt idx="6">
                    <c:v>Hybrid</c:v>
                  </c:pt>
                </c:lvl>
              </c:multiLvlStrCache>
            </c:multiLvlStrRef>
          </c:cat>
          <c:val>
            <c:numRef>
              <c:f>Sheet1!$C$2:$C$9</c:f>
              <c:numCache>
                <c:formatCode>General</c:formatCode>
                <c:ptCount val="8"/>
                <c:pt idx="0">
                  <c:v>690.8</c:v>
                </c:pt>
                <c:pt idx="1">
                  <c:v>1.1000000000000001</c:v>
                </c:pt>
                <c:pt idx="2">
                  <c:v>463.1</c:v>
                </c:pt>
                <c:pt idx="3">
                  <c:v>0</c:v>
                </c:pt>
                <c:pt idx="4">
                  <c:v>334.1</c:v>
                </c:pt>
                <c:pt idx="5">
                  <c:v>0.7</c:v>
                </c:pt>
                <c:pt idx="6">
                  <c:v>57.3</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BCA-4903-A691-85EEE481E50A}"/>
                </c:ext>
              </c:extLst>
            </c:dLbl>
            <c:dLbl>
              <c:idx val="1"/>
              <c:tx>
                <c:rich>
                  <a:bodyPr/>
                  <a:lstStyle/>
                  <a:p>
                    <a:r>
                      <a:t>3.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BCA-4903-A691-85EEE481E50A}"/>
                </c:ext>
              </c:extLst>
            </c:dLbl>
            <c:dLbl>
              <c:idx val="2"/>
              <c:tx>
                <c:rich>
                  <a:bodyPr/>
                  <a:lstStyle/>
                  <a:p>
                    <a:r>
                      <a:t>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BCA-4903-A691-85EEE481E50A}"/>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BCA-4903-A691-85EEE481E50A}"/>
                </c:ext>
              </c:extLst>
            </c:dLbl>
            <c:dLbl>
              <c:idx val="4"/>
              <c:tx>
                <c:rich>
                  <a:bodyPr/>
                  <a:lstStyle/>
                  <a:p>
                    <a:r>
                      <a:t>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BCA-4903-A691-85EEE481E50A}"/>
                </c:ext>
              </c:extLst>
            </c:dLbl>
            <c:dLbl>
              <c:idx val="5"/>
              <c:tx>
                <c:rich>
                  <a:bodyPr/>
                  <a:lstStyle/>
                  <a:p>
                    <a:r>
                      <a:t>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BCA-4903-A691-85EEE481E50A}"/>
                </c:ext>
              </c:extLst>
            </c:dLbl>
            <c:dLbl>
              <c:idx val="6"/>
              <c:tx>
                <c:rich>
                  <a:bodyPr/>
                  <a:lstStyle/>
                  <a:p>
                    <a:r>
                      <a:t>1.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BCA-4903-A691-85EEE481E50A}"/>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BCA-4903-A691-85EEE481E50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Cremo</c:v>
                  </c:pt>
                  <c:pt idx="2">
                    <c:v>Total</c:v>
                  </c:pt>
                  <c:pt idx="3">
                    <c:v>Cremo</c:v>
                  </c:pt>
                  <c:pt idx="4">
                    <c:v>Total</c:v>
                  </c:pt>
                  <c:pt idx="5">
                    <c:v>Cremo</c:v>
                  </c:pt>
                  <c:pt idx="6">
                    <c:v>Total</c:v>
                  </c:pt>
                  <c:pt idx="7">
                    <c:v>Cremo</c:v>
                  </c:pt>
                </c:lvl>
                <c:lvl>
                  <c:pt idx="0">
                    <c:v>Refills</c:v>
                  </c:pt>
                  <c:pt idx="2">
                    <c:v>Disposables</c:v>
                  </c:pt>
                  <c:pt idx="4">
                    <c:v>Razors</c:v>
                  </c:pt>
                  <c:pt idx="6">
                    <c:v>Hybrid</c:v>
                  </c:pt>
                </c:lvl>
              </c:multiLvlStrCache>
            </c:multiLvlStrRef>
          </c:cat>
          <c:val>
            <c:numRef>
              <c:f>Sheet1!$D$2:$D$9</c:f>
              <c:numCache>
                <c:formatCode>General</c:formatCode>
                <c:ptCount val="8"/>
                <c:pt idx="0">
                  <c:v>2.8473000000000002</c:v>
                </c:pt>
                <c:pt idx="1">
                  <c:v>3.1802999999999999</c:v>
                </c:pt>
                <c:pt idx="2">
                  <c:v>0.99619999999999997</c:v>
                </c:pt>
                <c:pt idx="3">
                  <c:v>0</c:v>
                </c:pt>
                <c:pt idx="4">
                  <c:v>4.9779999999999998</c:v>
                </c:pt>
                <c:pt idx="5">
                  <c:v>5.4969000000000001</c:v>
                </c:pt>
                <c:pt idx="6">
                  <c:v>1.353</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01DB-4683-BE2E-6D022ED93039}"/>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Schick</c:v>
                  </c:pt>
                  <c:pt idx="2">
                    <c:v>Total</c:v>
                  </c:pt>
                  <c:pt idx="3">
                    <c:v>Schick</c:v>
                  </c:pt>
                  <c:pt idx="4">
                    <c:v>Total</c:v>
                  </c:pt>
                  <c:pt idx="5">
                    <c:v>Schick</c:v>
                  </c:pt>
                </c:lvl>
                <c:lvl>
                  <c:pt idx="0">
                    <c:v>Refills</c:v>
                  </c:pt>
                  <c:pt idx="2">
                    <c:v>Disposables</c:v>
                  </c:pt>
                  <c:pt idx="4">
                    <c:v>Razors</c:v>
                  </c:pt>
                </c:lvl>
              </c:multiLvlStrCache>
            </c:multiLvlStrRef>
          </c:cat>
          <c:val>
            <c:numRef>
              <c:f>Sheet1!$C$2:$C$7</c:f>
              <c:numCache>
                <c:formatCode>General</c:formatCode>
                <c:ptCount val="6"/>
                <c:pt idx="0">
                  <c:v>71.400000000000006</c:v>
                </c:pt>
                <c:pt idx="1">
                  <c:v>0</c:v>
                </c:pt>
                <c:pt idx="2">
                  <c:v>31.5</c:v>
                </c:pt>
                <c:pt idx="3">
                  <c:v>11.8</c:v>
                </c:pt>
                <c:pt idx="4">
                  <c:v>18.100000000000001</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01DB-4683-BE2E-6D022ED93039}"/>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01DB-4683-BE2E-6D022ED93039}"/>
                </c:ext>
              </c:extLst>
            </c:dLbl>
            <c:dLbl>
              <c:idx val="2"/>
              <c:tx>
                <c:rich>
                  <a:bodyPr/>
                  <a:lstStyle/>
                  <a:p>
                    <a:r>
                      <a:t>0.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01DB-4683-BE2E-6D022ED93039}"/>
                </c:ext>
              </c:extLst>
            </c:dLbl>
            <c:dLbl>
              <c:idx val="3"/>
              <c:tx>
                <c:rich>
                  <a:bodyPr/>
                  <a:lstStyle/>
                  <a:p>
                    <a:r>
                      <a:t>0.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01DB-4683-BE2E-6D022ED93039}"/>
                </c:ext>
              </c:extLst>
            </c:dLbl>
            <c:dLbl>
              <c:idx val="4"/>
              <c:tx>
                <c:rich>
                  <a:bodyPr/>
                  <a:lstStyle/>
                  <a:p>
                    <a:r>
                      <a:t>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01DB-4683-BE2E-6D022ED93039}"/>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01DB-4683-BE2E-6D022ED9303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Schick</c:v>
                  </c:pt>
                  <c:pt idx="2">
                    <c:v>Total</c:v>
                  </c:pt>
                  <c:pt idx="3">
                    <c:v>Schick</c:v>
                  </c:pt>
                  <c:pt idx="4">
                    <c:v>Total</c:v>
                  </c:pt>
                  <c:pt idx="5">
                    <c:v>Schick</c:v>
                  </c:pt>
                </c:lvl>
                <c:lvl>
                  <c:pt idx="0">
                    <c:v>Refills</c:v>
                  </c:pt>
                  <c:pt idx="2">
                    <c:v>Disposables</c:v>
                  </c:pt>
                  <c:pt idx="4">
                    <c:v>Razors</c:v>
                  </c:pt>
                </c:lvl>
              </c:multiLvlStrCache>
            </c:multiLvlStrRef>
          </c:cat>
          <c:val>
            <c:numRef>
              <c:f>Sheet1!$D$2:$D$7</c:f>
              <c:numCache>
                <c:formatCode>General</c:formatCode>
                <c:ptCount val="6"/>
                <c:pt idx="0">
                  <c:v>2.2970999999999999</c:v>
                </c:pt>
                <c:pt idx="1">
                  <c:v>0</c:v>
                </c:pt>
                <c:pt idx="2">
                  <c:v>0.72850000000000004</c:v>
                </c:pt>
                <c:pt idx="3">
                  <c:v>0.90680000000000005</c:v>
                </c:pt>
                <c:pt idx="4">
                  <c:v>3.1465000000000001</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288D-4EE1-B884-CFF5C3AF9F67}"/>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Cremo</c:v>
                  </c:pt>
                  <c:pt idx="2">
                    <c:v>Total</c:v>
                  </c:pt>
                  <c:pt idx="3">
                    <c:v>Cremo</c:v>
                  </c:pt>
                  <c:pt idx="4">
                    <c:v>Total</c:v>
                  </c:pt>
                  <c:pt idx="5">
                    <c:v>Cremo</c:v>
                  </c:pt>
                </c:lvl>
                <c:lvl>
                  <c:pt idx="0">
                    <c:v>Refills</c:v>
                  </c:pt>
                  <c:pt idx="2">
                    <c:v>Disposables</c:v>
                  </c:pt>
                  <c:pt idx="4">
                    <c:v>Razors</c:v>
                  </c:pt>
                </c:lvl>
              </c:multiLvlStrCache>
            </c:multiLvlStrRef>
          </c:cat>
          <c:val>
            <c:numRef>
              <c:f>Sheet1!$C$2:$C$7</c:f>
              <c:numCache>
                <c:formatCode>General</c:formatCode>
                <c:ptCount val="6"/>
                <c:pt idx="0">
                  <c:v>71.400000000000006</c:v>
                </c:pt>
                <c:pt idx="1">
                  <c:v>0</c:v>
                </c:pt>
                <c:pt idx="2">
                  <c:v>31.5</c:v>
                </c:pt>
                <c:pt idx="3">
                  <c:v>0</c:v>
                </c:pt>
                <c:pt idx="4">
                  <c:v>18.100000000000001</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288D-4EE1-B884-CFF5C3AF9F67}"/>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288D-4EE1-B884-CFF5C3AF9F67}"/>
                </c:ext>
              </c:extLst>
            </c:dLbl>
            <c:dLbl>
              <c:idx val="2"/>
              <c:tx>
                <c:rich>
                  <a:bodyPr/>
                  <a:lstStyle/>
                  <a:p>
                    <a:r>
                      <a:t>0.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88D-4EE1-B884-CFF5C3AF9F67}"/>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88D-4EE1-B884-CFF5C3AF9F67}"/>
                </c:ext>
              </c:extLst>
            </c:dLbl>
            <c:dLbl>
              <c:idx val="4"/>
              <c:tx>
                <c:rich>
                  <a:bodyPr/>
                  <a:lstStyle/>
                  <a:p>
                    <a:r>
                      <a:t>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88D-4EE1-B884-CFF5C3AF9F67}"/>
                </c:ext>
              </c:extLst>
            </c:dLbl>
            <c:dLbl>
              <c:idx val="5"/>
              <c:tx>
                <c:rich>
                  <a:bodyPr/>
                  <a:lstStyle/>
                  <a:p>
                    <a:r>
                      <a:t>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88D-4EE1-B884-CFF5C3AF9F6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Cremo</c:v>
                  </c:pt>
                  <c:pt idx="2">
                    <c:v>Total</c:v>
                  </c:pt>
                  <c:pt idx="3">
                    <c:v>Cremo</c:v>
                  </c:pt>
                  <c:pt idx="4">
                    <c:v>Total</c:v>
                  </c:pt>
                  <c:pt idx="5">
                    <c:v>Cremo</c:v>
                  </c:pt>
                </c:lvl>
                <c:lvl>
                  <c:pt idx="0">
                    <c:v>Refills</c:v>
                  </c:pt>
                  <c:pt idx="2">
                    <c:v>Disposables</c:v>
                  </c:pt>
                  <c:pt idx="4">
                    <c:v>Razors</c:v>
                  </c:pt>
                </c:lvl>
              </c:multiLvlStrCache>
            </c:multiLvlStrRef>
          </c:cat>
          <c:val>
            <c:numRef>
              <c:f>Sheet1!$D$2:$D$7</c:f>
              <c:numCache>
                <c:formatCode>General</c:formatCode>
                <c:ptCount val="6"/>
                <c:pt idx="0">
                  <c:v>2.2970999999999999</c:v>
                </c:pt>
                <c:pt idx="1">
                  <c:v>0</c:v>
                </c:pt>
                <c:pt idx="2">
                  <c:v>0.72850000000000004</c:v>
                </c:pt>
                <c:pt idx="3">
                  <c:v>0</c:v>
                </c:pt>
                <c:pt idx="4">
                  <c:v>3.1465000000000001</c:v>
                </c:pt>
                <c:pt idx="5">
                  <c:v>1.80119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1F8C-44B7-A98A-93B84940BFD7}"/>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Schick</c:v>
                  </c:pt>
                  <c:pt idx="2">
                    <c:v>Total</c:v>
                  </c:pt>
                  <c:pt idx="3">
                    <c:v>Schick</c:v>
                  </c:pt>
                  <c:pt idx="4">
                    <c:v>Total</c:v>
                  </c:pt>
                  <c:pt idx="5">
                    <c:v>Schick</c:v>
                  </c:pt>
                  <c:pt idx="6">
                    <c:v>Total</c:v>
                  </c:pt>
                  <c:pt idx="7">
                    <c:v>Schick</c:v>
                  </c:pt>
                </c:lvl>
                <c:lvl>
                  <c:pt idx="0">
                    <c:v>Refills</c:v>
                  </c:pt>
                  <c:pt idx="2">
                    <c:v>Disposables</c:v>
                  </c:pt>
                  <c:pt idx="4">
                    <c:v>Razors</c:v>
                  </c:pt>
                  <c:pt idx="6">
                    <c:v>Hybrid</c:v>
                  </c:pt>
                </c:lvl>
              </c:multiLvlStrCache>
            </c:multiLvlStrRef>
          </c:cat>
          <c:val>
            <c:numRef>
              <c:f>Sheet1!$C$2:$C$9</c:f>
              <c:numCache>
                <c:formatCode>General</c:formatCode>
                <c:ptCount val="8"/>
                <c:pt idx="0">
                  <c:v>192.2</c:v>
                </c:pt>
                <c:pt idx="1">
                  <c:v>8.9</c:v>
                </c:pt>
                <c:pt idx="2">
                  <c:v>161.80000000000001</c:v>
                </c:pt>
                <c:pt idx="3">
                  <c:v>19.100000000000001</c:v>
                </c:pt>
                <c:pt idx="4">
                  <c:v>110.1</c:v>
                </c:pt>
                <c:pt idx="5">
                  <c:v>5.7</c:v>
                </c:pt>
                <c:pt idx="6">
                  <c:v>27.2</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F8C-44B7-A98A-93B84940BFD7}"/>
                </c:ext>
              </c:extLst>
            </c:dLbl>
            <c:dLbl>
              <c:idx val="1"/>
              <c:tx>
                <c:rich>
                  <a:bodyPr/>
                  <a:lstStyle/>
                  <a:p>
                    <a:r>
                      <a:t>2.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F8C-44B7-A98A-93B84940BFD7}"/>
                </c:ext>
              </c:extLst>
            </c:dLbl>
            <c:dLbl>
              <c:idx val="2"/>
              <c:tx>
                <c:rich>
                  <a:bodyPr/>
                  <a:lstStyle/>
                  <a:p>
                    <a:r>
                      <a:t>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F8C-44B7-A98A-93B84940BFD7}"/>
                </c:ext>
              </c:extLst>
            </c:dLbl>
            <c:dLbl>
              <c:idx val="3"/>
              <c:tx>
                <c:rich>
                  <a:bodyPr/>
                  <a:lstStyle/>
                  <a:p>
                    <a:r>
                      <a:t>0.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F8C-44B7-A98A-93B84940BFD7}"/>
                </c:ext>
              </c:extLst>
            </c:dLbl>
            <c:dLbl>
              <c:idx val="4"/>
              <c:tx>
                <c:rich>
                  <a:bodyPr/>
                  <a:lstStyle/>
                  <a:p>
                    <a:r>
                      <a:t>4.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F8C-44B7-A98A-93B84940BFD7}"/>
                </c:ext>
              </c:extLst>
            </c:dLbl>
            <c:dLbl>
              <c:idx val="5"/>
              <c:tx>
                <c:rich>
                  <a:bodyPr/>
                  <a:lstStyle/>
                  <a:p>
                    <a:r>
                      <a:t>3.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F8C-44B7-A98A-93B84940BFD7}"/>
                </c:ext>
              </c:extLst>
            </c:dLbl>
            <c:dLbl>
              <c:idx val="6"/>
              <c:tx>
                <c:rich>
                  <a:bodyPr/>
                  <a:lstStyle/>
                  <a:p>
                    <a:r>
                      <a:t>1.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F8C-44B7-A98A-93B84940BFD7}"/>
                </c:ext>
              </c:extLst>
            </c:dLbl>
            <c:dLbl>
              <c:idx val="7"/>
              <c:tx>
                <c:rich>
                  <a:bodyPr/>
                  <a:lstStyle/>
                  <a:p>
                    <a:r>
                      <a:t>1.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F8C-44B7-A98A-93B84940BFD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Schick</c:v>
                  </c:pt>
                  <c:pt idx="2">
                    <c:v>Total</c:v>
                  </c:pt>
                  <c:pt idx="3">
                    <c:v>Schick</c:v>
                  </c:pt>
                  <c:pt idx="4">
                    <c:v>Total</c:v>
                  </c:pt>
                  <c:pt idx="5">
                    <c:v>Schick</c:v>
                  </c:pt>
                  <c:pt idx="6">
                    <c:v>Total</c:v>
                  </c:pt>
                  <c:pt idx="7">
                    <c:v>Schick</c:v>
                  </c:pt>
                </c:lvl>
                <c:lvl>
                  <c:pt idx="0">
                    <c:v>Refills</c:v>
                  </c:pt>
                  <c:pt idx="2">
                    <c:v>Disposables</c:v>
                  </c:pt>
                  <c:pt idx="4">
                    <c:v>Razors</c:v>
                  </c:pt>
                  <c:pt idx="6">
                    <c:v>Hybrid</c:v>
                  </c:pt>
                </c:lvl>
              </c:multiLvlStrCache>
            </c:multiLvlStrRef>
          </c:cat>
          <c:val>
            <c:numRef>
              <c:f>Sheet1!$D$2:$D$9</c:f>
              <c:numCache>
                <c:formatCode>General</c:formatCode>
                <c:ptCount val="8"/>
                <c:pt idx="0">
                  <c:v>2.6341000000000001</c:v>
                </c:pt>
                <c:pt idx="1">
                  <c:v>2.3166000000000002</c:v>
                </c:pt>
                <c:pt idx="2">
                  <c:v>0.9284</c:v>
                </c:pt>
                <c:pt idx="3">
                  <c:v>0.98740000000000006</c:v>
                </c:pt>
                <c:pt idx="4">
                  <c:v>4.7678000000000003</c:v>
                </c:pt>
                <c:pt idx="5">
                  <c:v>3.173</c:v>
                </c:pt>
                <c:pt idx="6">
                  <c:v>1.3608</c:v>
                </c:pt>
                <c:pt idx="7">
                  <c:v>1.166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58E0-4791-A31B-D5B3946F3150}"/>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Equate</c:v>
                  </c:pt>
                  <c:pt idx="2">
                    <c:v>Total</c:v>
                  </c:pt>
                  <c:pt idx="3">
                    <c:v>Equate</c:v>
                  </c:pt>
                  <c:pt idx="4">
                    <c:v>Total</c:v>
                  </c:pt>
                  <c:pt idx="5">
                    <c:v>Equate</c:v>
                  </c:pt>
                  <c:pt idx="6">
                    <c:v>Total</c:v>
                  </c:pt>
                  <c:pt idx="7">
                    <c:v>Equate</c:v>
                  </c:pt>
                </c:lvl>
                <c:lvl>
                  <c:pt idx="0">
                    <c:v>Refills</c:v>
                  </c:pt>
                  <c:pt idx="2">
                    <c:v>Disposables</c:v>
                  </c:pt>
                  <c:pt idx="4">
                    <c:v>Razors</c:v>
                  </c:pt>
                  <c:pt idx="6">
                    <c:v>Hybrid</c:v>
                  </c:pt>
                </c:lvl>
              </c:multiLvlStrCache>
            </c:multiLvlStrRef>
          </c:cat>
          <c:val>
            <c:numRef>
              <c:f>Sheet1!$C$2:$C$9</c:f>
              <c:numCache>
                <c:formatCode>General</c:formatCode>
                <c:ptCount val="8"/>
                <c:pt idx="0">
                  <c:v>192.2</c:v>
                </c:pt>
                <c:pt idx="1">
                  <c:v>7.5</c:v>
                </c:pt>
                <c:pt idx="2">
                  <c:v>161.80000000000001</c:v>
                </c:pt>
                <c:pt idx="3">
                  <c:v>24.8</c:v>
                </c:pt>
                <c:pt idx="4">
                  <c:v>110.1</c:v>
                </c:pt>
                <c:pt idx="5">
                  <c:v>2.4</c:v>
                </c:pt>
                <c:pt idx="6">
                  <c:v>27.2</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58E0-4791-A31B-D5B3946F3150}"/>
                </c:ext>
              </c:extLst>
            </c:dLbl>
            <c:dLbl>
              <c:idx val="1"/>
              <c:tx>
                <c:rich>
                  <a:bodyPr/>
                  <a:lstStyle/>
                  <a:p>
                    <a:r>
                      <a:t>2.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58E0-4791-A31B-D5B3946F3150}"/>
                </c:ext>
              </c:extLst>
            </c:dLbl>
            <c:dLbl>
              <c:idx val="2"/>
              <c:tx>
                <c:rich>
                  <a:bodyPr/>
                  <a:lstStyle/>
                  <a:p>
                    <a:r>
                      <a:t>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58E0-4791-A31B-D5B3946F3150}"/>
                </c:ext>
              </c:extLst>
            </c:dLbl>
            <c:dLbl>
              <c:idx val="3"/>
              <c:tx>
                <c:rich>
                  <a:bodyPr/>
                  <a:lstStyle/>
                  <a:p>
                    <a:r>
                      <a:t>0.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58E0-4791-A31B-D5B3946F3150}"/>
                </c:ext>
              </c:extLst>
            </c:dLbl>
            <c:dLbl>
              <c:idx val="4"/>
              <c:tx>
                <c:rich>
                  <a:bodyPr/>
                  <a:lstStyle/>
                  <a:p>
                    <a:r>
                      <a:t>4.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58E0-4791-A31B-D5B3946F3150}"/>
                </c:ext>
              </c:extLst>
            </c:dLbl>
            <c:dLbl>
              <c:idx val="5"/>
              <c:tx>
                <c:rich>
                  <a:bodyPr/>
                  <a:lstStyle/>
                  <a:p>
                    <a:r>
                      <a:t>4.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58E0-4791-A31B-D5B3946F3150}"/>
                </c:ext>
              </c:extLst>
            </c:dLbl>
            <c:dLbl>
              <c:idx val="6"/>
              <c:tx>
                <c:rich>
                  <a:bodyPr/>
                  <a:lstStyle/>
                  <a:p>
                    <a:r>
                      <a:t>1.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58E0-4791-A31B-D5B3946F3150}"/>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58E0-4791-A31B-D5B3946F315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Equate</c:v>
                  </c:pt>
                  <c:pt idx="2">
                    <c:v>Total</c:v>
                  </c:pt>
                  <c:pt idx="3">
                    <c:v>Equate</c:v>
                  </c:pt>
                  <c:pt idx="4">
                    <c:v>Total</c:v>
                  </c:pt>
                  <c:pt idx="5">
                    <c:v>Equate</c:v>
                  </c:pt>
                  <c:pt idx="6">
                    <c:v>Total</c:v>
                  </c:pt>
                  <c:pt idx="7">
                    <c:v>Equate</c:v>
                  </c:pt>
                </c:lvl>
                <c:lvl>
                  <c:pt idx="0">
                    <c:v>Refills</c:v>
                  </c:pt>
                  <c:pt idx="2">
                    <c:v>Disposables</c:v>
                  </c:pt>
                  <c:pt idx="4">
                    <c:v>Razors</c:v>
                  </c:pt>
                  <c:pt idx="6">
                    <c:v>Hybrid</c:v>
                  </c:pt>
                </c:lvl>
              </c:multiLvlStrCache>
            </c:multiLvlStrRef>
          </c:cat>
          <c:val>
            <c:numRef>
              <c:f>Sheet1!$D$2:$D$9</c:f>
              <c:numCache>
                <c:formatCode>General</c:formatCode>
                <c:ptCount val="8"/>
                <c:pt idx="0">
                  <c:v>2.6341000000000001</c:v>
                </c:pt>
                <c:pt idx="1">
                  <c:v>2.0589</c:v>
                </c:pt>
                <c:pt idx="2">
                  <c:v>0.9284</c:v>
                </c:pt>
                <c:pt idx="3">
                  <c:v>0.54459999999999997</c:v>
                </c:pt>
                <c:pt idx="4">
                  <c:v>4.7678000000000003</c:v>
                </c:pt>
                <c:pt idx="5">
                  <c:v>4.2198000000000002</c:v>
                </c:pt>
                <c:pt idx="6">
                  <c:v>1.3608</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7514-44A0-8271-9CD6A9665552}"/>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Cremo</c:v>
                  </c:pt>
                  <c:pt idx="2">
                    <c:v>Total</c:v>
                  </c:pt>
                  <c:pt idx="3">
                    <c:v>Cremo</c:v>
                  </c:pt>
                  <c:pt idx="4">
                    <c:v>Total</c:v>
                  </c:pt>
                  <c:pt idx="5">
                    <c:v>Cremo</c:v>
                  </c:pt>
                  <c:pt idx="6">
                    <c:v>Total</c:v>
                  </c:pt>
                  <c:pt idx="7">
                    <c:v>Cremo</c:v>
                  </c:pt>
                </c:lvl>
                <c:lvl>
                  <c:pt idx="0">
                    <c:v>Refills</c:v>
                  </c:pt>
                  <c:pt idx="2">
                    <c:v>Disposables</c:v>
                  </c:pt>
                  <c:pt idx="4">
                    <c:v>Razors</c:v>
                  </c:pt>
                  <c:pt idx="6">
                    <c:v>Hybrid</c:v>
                  </c:pt>
                </c:lvl>
              </c:multiLvlStrCache>
            </c:multiLvlStrRef>
          </c:cat>
          <c:val>
            <c:numRef>
              <c:f>Sheet1!$C$2:$C$9</c:f>
              <c:numCache>
                <c:formatCode>General</c:formatCode>
                <c:ptCount val="8"/>
                <c:pt idx="0">
                  <c:v>192.2</c:v>
                </c:pt>
                <c:pt idx="1">
                  <c:v>0</c:v>
                </c:pt>
                <c:pt idx="2">
                  <c:v>161.80000000000001</c:v>
                </c:pt>
                <c:pt idx="3">
                  <c:v>0</c:v>
                </c:pt>
                <c:pt idx="4">
                  <c:v>110.1</c:v>
                </c:pt>
                <c:pt idx="5">
                  <c:v>0.1</c:v>
                </c:pt>
                <c:pt idx="6">
                  <c:v>27.2</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514-44A0-8271-9CD6A9665552}"/>
                </c:ext>
              </c:extLst>
            </c:dLbl>
            <c:dLbl>
              <c:idx val="1"/>
              <c:tx>
                <c:rich>
                  <a:bodyPr/>
                  <a:lstStyle/>
                  <a:p>
                    <a:r>
                      <a:t>3.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514-44A0-8271-9CD6A9665552}"/>
                </c:ext>
              </c:extLst>
            </c:dLbl>
            <c:dLbl>
              <c:idx val="2"/>
              <c:tx>
                <c:rich>
                  <a:bodyPr/>
                  <a:lstStyle/>
                  <a:p>
                    <a:r>
                      <a:t>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514-44A0-8271-9CD6A9665552}"/>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514-44A0-8271-9CD6A9665552}"/>
                </c:ext>
              </c:extLst>
            </c:dLbl>
            <c:dLbl>
              <c:idx val="4"/>
              <c:tx>
                <c:rich>
                  <a:bodyPr/>
                  <a:lstStyle/>
                  <a:p>
                    <a:r>
                      <a:t>4.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514-44A0-8271-9CD6A9665552}"/>
                </c:ext>
              </c:extLst>
            </c:dLbl>
            <c:dLbl>
              <c:idx val="5"/>
              <c:tx>
                <c:rich>
                  <a:bodyPr/>
                  <a:lstStyle/>
                  <a:p>
                    <a:r>
                      <a:t>7.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514-44A0-8271-9CD6A9665552}"/>
                </c:ext>
              </c:extLst>
            </c:dLbl>
            <c:dLbl>
              <c:idx val="6"/>
              <c:tx>
                <c:rich>
                  <a:bodyPr/>
                  <a:lstStyle/>
                  <a:p>
                    <a:r>
                      <a:t>1.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514-44A0-8271-9CD6A9665552}"/>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514-44A0-8271-9CD6A966555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Cremo</c:v>
                  </c:pt>
                  <c:pt idx="2">
                    <c:v>Total</c:v>
                  </c:pt>
                  <c:pt idx="3">
                    <c:v>Cremo</c:v>
                  </c:pt>
                  <c:pt idx="4">
                    <c:v>Total</c:v>
                  </c:pt>
                  <c:pt idx="5">
                    <c:v>Cremo</c:v>
                  </c:pt>
                  <c:pt idx="6">
                    <c:v>Total</c:v>
                  </c:pt>
                  <c:pt idx="7">
                    <c:v>Cremo</c:v>
                  </c:pt>
                </c:lvl>
                <c:lvl>
                  <c:pt idx="0">
                    <c:v>Refills</c:v>
                  </c:pt>
                  <c:pt idx="2">
                    <c:v>Disposables</c:v>
                  </c:pt>
                  <c:pt idx="4">
                    <c:v>Razors</c:v>
                  </c:pt>
                  <c:pt idx="6">
                    <c:v>Hybrid</c:v>
                  </c:pt>
                </c:lvl>
              </c:multiLvlStrCache>
            </c:multiLvlStrRef>
          </c:cat>
          <c:val>
            <c:numRef>
              <c:f>Sheet1!$D$2:$D$9</c:f>
              <c:numCache>
                <c:formatCode>General</c:formatCode>
                <c:ptCount val="8"/>
                <c:pt idx="0">
                  <c:v>2.6341000000000001</c:v>
                </c:pt>
                <c:pt idx="1">
                  <c:v>3.3773</c:v>
                </c:pt>
                <c:pt idx="2">
                  <c:v>0.9284</c:v>
                </c:pt>
                <c:pt idx="3">
                  <c:v>0</c:v>
                </c:pt>
                <c:pt idx="4">
                  <c:v>4.7678000000000003</c:v>
                </c:pt>
                <c:pt idx="5">
                  <c:v>7.3948999999999998</c:v>
                </c:pt>
                <c:pt idx="6">
                  <c:v>1.3608</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688BB19-DDFB-4C42-912D-0599C51480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347F0D9-8981-43C4-8702-AB2D31CB8C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B6D6107-5661-429C-9B06-3106326C96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D2C92A4-4464-4060-AF3F-6CF9F8B6B9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762A891-CA58-4FD8-9554-D5E60F14A8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D7940BC-25B1-4214-A325-7E6A51F77A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2353615-1AAD-4002-97C8-CA2CD355B9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58EE71F-93BA-4FC2-97EC-009B96139C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9.018000000000001</c:v>
                </c:pt>
                <c:pt idx="1">
                  <c:v>12.6411</c:v>
                </c:pt>
                <c:pt idx="2">
                  <c:v>9.0344999999999995</c:v>
                </c:pt>
                <c:pt idx="3">
                  <c:v>13.195600000000001</c:v>
                </c:pt>
                <c:pt idx="4">
                  <c:v>10.132099999999999</c:v>
                </c:pt>
                <c:pt idx="5">
                  <c:v>10.146000000000001</c:v>
                </c:pt>
                <c:pt idx="6">
                  <c:v>5.5808999999999997</c:v>
                </c:pt>
                <c:pt idx="7">
                  <c:v>14.367000000000001</c:v>
                </c:pt>
              </c:numCache>
            </c:numRef>
          </c:xVal>
          <c:yVal>
            <c:numRef>
              <c:f>Sheet1!$B$2:$B$9</c:f>
              <c:numCache>
                <c:formatCode>General</c:formatCode>
                <c:ptCount val="8"/>
                <c:pt idx="0">
                  <c:v>1.446</c:v>
                </c:pt>
                <c:pt idx="1">
                  <c:v>0.94899999999999995</c:v>
                </c:pt>
                <c:pt idx="2">
                  <c:v>0.53100000000000003</c:v>
                </c:pt>
                <c:pt idx="3">
                  <c:v>0.91200000000000003</c:v>
                </c:pt>
                <c:pt idx="4">
                  <c:v>0.96399999999999997</c:v>
                </c:pt>
                <c:pt idx="5">
                  <c:v>0.82699999999999996</c:v>
                </c:pt>
                <c:pt idx="6">
                  <c:v>0.215</c:v>
                </c:pt>
                <c:pt idx="7">
                  <c:v>1.8779999999999999</c:v>
                </c:pt>
              </c:numCache>
            </c:numRef>
          </c:yVal>
          <c:bubbleSize>
            <c:numRef>
              <c:f>Sheet1!$C$2:$C$9</c:f>
              <c:numCache>
                <c:formatCode>General</c:formatCode>
                <c:ptCount val="8"/>
                <c:pt idx="0">
                  <c:v>189981827</c:v>
                </c:pt>
                <c:pt idx="1">
                  <c:v>69045242</c:v>
                </c:pt>
                <c:pt idx="2">
                  <c:v>21990278</c:v>
                </c:pt>
                <c:pt idx="3">
                  <c:v>14547061</c:v>
                </c:pt>
                <c:pt idx="4">
                  <c:v>12761321</c:v>
                </c:pt>
                <c:pt idx="5">
                  <c:v>9913048</c:v>
                </c:pt>
                <c:pt idx="6">
                  <c:v>5885956</c:v>
                </c:pt>
                <c:pt idx="7">
                  <c:v>13289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Schick</c:v>
                  </c:pt>
                  <c:pt idx="4">
                    <c:v>Dollar Shave Club</c:v>
                  </c:pt>
                  <c:pt idx="5">
                    <c:v>Equate</c:v>
                  </c:pt>
                  <c:pt idx="6">
                    <c:v>Van Der Hagen</c:v>
                  </c:pt>
                  <c:pt idx="7">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68AC87B7-A0EA-40F4-9AF8-1CF67DCB0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30FDD3E5-4431-4EC9-A9E8-6C662E656F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4C324812-89CC-47D4-80C0-DB0808DA1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7045FB66-A66D-4EA0-8236-69A6ED1BB7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9D4DEAA4-94E1-49EF-BDA3-9D836D59DB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4A985A84-6D36-436F-B8DA-F0C137460A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E9844DB4-7A75-4879-81C7-EEC1742B7A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85397A29-D7C5-43FE-BD5A-28AF05531A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0.2652</c:v>
                </c:pt>
                <c:pt idx="1">
                  <c:v>5.2460000000000004</c:v>
                </c:pt>
                <c:pt idx="2">
                  <c:v>3.3515999999999999</c:v>
                </c:pt>
                <c:pt idx="3">
                  <c:v>8.3892000000000007</c:v>
                </c:pt>
              </c:numCache>
            </c:numRef>
          </c:xVal>
          <c:yVal>
            <c:numRef>
              <c:f>Sheet1!$B$2:$B$5</c:f>
              <c:numCache>
                <c:formatCode>General</c:formatCode>
                <c:ptCount val="4"/>
                <c:pt idx="0">
                  <c:v>1.3320000000000001</c:v>
                </c:pt>
                <c:pt idx="1">
                  <c:v>0.84199999999999997</c:v>
                </c:pt>
                <c:pt idx="2">
                  <c:v>0.58699999999999997</c:v>
                </c:pt>
                <c:pt idx="3">
                  <c:v>1.0640000000000001</c:v>
                </c:pt>
              </c:numCache>
            </c:numRef>
          </c:yVal>
          <c:bubbleSize>
            <c:numRef>
              <c:f>Sheet1!$C$2:$C$5</c:f>
              <c:numCache>
                <c:formatCode>General</c:formatCode>
                <c:ptCount val="4"/>
                <c:pt idx="0">
                  <c:v>87493817</c:v>
                </c:pt>
                <c:pt idx="1">
                  <c:v>29854336</c:v>
                </c:pt>
                <c:pt idx="2">
                  <c:v>24797807</c:v>
                </c:pt>
                <c:pt idx="3">
                  <c:v>19103492</c:v>
                </c:pt>
              </c:numCache>
            </c:numRef>
          </c:bubbleSize>
          <c:bubble3D val="0"/>
          <c:extLst>
            <c:ext xmlns:c15="http://schemas.microsoft.com/office/drawing/2012/chart" uri="{02D57815-91ED-43cb-92C2-25804820EDAC}">
              <c15:datalabelsRange>
                <c15:f>Sheet1!$E$2:$E$10</c15:f>
                <c15:dlblRangeCache>
                  <c:ptCount val="9"/>
                  <c:pt idx="0">
                    <c:v>Gillette</c:v>
                  </c:pt>
                  <c:pt idx="1">
                    <c:v>Bic</c:v>
                  </c:pt>
                  <c:pt idx="2">
                    <c:v>Equate</c:v>
                  </c:pt>
                  <c:pt idx="3">
                    <c:v>Schick</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11/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1/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20.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21.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22.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23.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24.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25.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26.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27.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28.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9.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30.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31.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32.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33.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34.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35.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36.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37.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38.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9.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40.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41.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42.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43.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44.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45.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46.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47.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48.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5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5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5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ATIONAL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4270572015"/>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Manual Shave Me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7474445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Men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639902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364076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Men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794525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65258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Men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76770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943697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ystem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367489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374655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ystem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592360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732330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ystem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157487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356412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Disposable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482265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24639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Disposable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170334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895824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Disposable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001217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797363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azor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05300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776837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Bj's And Sam's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1459154588"/>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Manual Shave Me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3976225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azor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5237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60882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azor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657979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430785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efill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60714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984231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efill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008820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564338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efill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764216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972901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Men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881695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252840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Men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42741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996271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Men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788767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289396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ystem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920524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905072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ystem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913939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5808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Walmart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173243877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Manual Shave Me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8609368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ystem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741525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580107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Disposable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610090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324155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Disposable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582193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0588882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Disposable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315107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5572417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azor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343243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4538404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azor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269293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700398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azor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658960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162471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efill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094783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196642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efill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685326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3867266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efill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18635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021874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ATIONAL | P12M</a:t>
            </a:r>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extLst>
              <p:ext uri="{D42A27DB-BD31-4B8C-83A1-F6EECF244321}">
                <p14:modId xmlns:p14="http://schemas.microsoft.com/office/powerpoint/2010/main" val="34073107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extLst>
              <p:ext uri="{D42A27DB-BD31-4B8C-83A1-F6EECF244321}">
                <p14:modId xmlns:p14="http://schemas.microsoft.com/office/powerpoint/2010/main" val="4011775478"/>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defRPr sz="1100">
                          <a:latin typeface="Nexa Book"/>
                        </a:defRPr>
                      </a:pPr>
                      <a:r>
                        <a:rPr b="1">
                          <a:solidFill>
                            <a:srgbClr val="575555"/>
                          </a:solidFill>
                        </a:rPr>
                        <a:t>System</a:t>
                      </a:r>
                    </a:p>
                  </a:txBody>
                  <a:tcPr anchor="ctr">
                    <a:solidFill>
                      <a:schemeClr val="bg2"/>
                    </a:solidFill>
                  </a:tcPr>
                </a:tc>
                <a:tc>
                  <a:txBody>
                    <a:bodyPr/>
                    <a:lstStyle/>
                    <a:p>
                      <a:pPr algn="ctr">
                        <a:defRPr sz="1100">
                          <a:latin typeface="Nexa Book"/>
                        </a:defRPr>
                      </a:pPr>
                      <a:r>
                        <a:rPr b="1">
                          <a:solidFill>
                            <a:srgbClr val="575555"/>
                          </a:solidFill>
                        </a:rPr>
                        <a:t>Disposable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24471006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ctor | Manual Shave Men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ystem (7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543043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ctor | Manual Shave Men | Bj's And Sam'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ystem (7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2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75203611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ctor | Manual Shave Men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ystem (6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8408523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gment | Manual Shave Men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 (4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 (2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0170225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gment | Manual Shave Men | Bj's And Sam'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 (5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2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 (1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363206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gment | Manual Shave Men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 (3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 (2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9726186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Manual Shave Men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ystem (7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Unilev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6325502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Manual Shave Men | Bj's And Sam'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ystem (7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2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94219333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Manual Shave Men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ystem (6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Unilev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2271792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Manual Shave Men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 (4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Unilev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 (2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Unilev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Universal Beauty Prods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4019960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Bj's And Sam's | P12M</a:t>
            </a:r>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extLst>
              <p:ext uri="{D42A27DB-BD31-4B8C-83A1-F6EECF244321}">
                <p14:modId xmlns:p14="http://schemas.microsoft.com/office/powerpoint/2010/main" val="202202378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extLst>
              <p:ext uri="{D42A27DB-BD31-4B8C-83A1-F6EECF244321}">
                <p14:modId xmlns:p14="http://schemas.microsoft.com/office/powerpoint/2010/main" val="1703235108"/>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defRPr sz="1100">
                          <a:latin typeface="Nexa Book"/>
                        </a:defRPr>
                      </a:pPr>
                      <a:r>
                        <a:rPr b="1">
                          <a:solidFill>
                            <a:srgbClr val="575555"/>
                          </a:solidFill>
                        </a:rPr>
                        <a:t>System</a:t>
                      </a:r>
                    </a:p>
                  </a:txBody>
                  <a:tcPr anchor="ctr">
                    <a:solidFill>
                      <a:schemeClr val="bg2"/>
                    </a:solidFill>
                  </a:tcPr>
                </a:tc>
                <a:tc>
                  <a:txBody>
                    <a:bodyPr/>
                    <a:lstStyle/>
                    <a:p>
                      <a:pPr algn="ctr">
                        <a:defRPr sz="1100">
                          <a:latin typeface="Nexa Book"/>
                        </a:defRPr>
                      </a:pPr>
                      <a:r>
                        <a:rPr b="1">
                          <a:solidFill>
                            <a:srgbClr val="575555"/>
                          </a:solidFill>
                        </a:rPr>
                        <a:t>Disposable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77917085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Manual Shave Men | Bj's And Sam'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 (5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2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 (1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6165698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Manual Shave Men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 (3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Unilev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 (2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Unilev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Universal Beauty Prods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36825852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Edgewell Personal Car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7624684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Edgewell Personal Care | Bj's And Sam'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688626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Edgewell Personal Car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759060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Schick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6490175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Equat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5136954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Cremo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4264343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Schick | Bj's And Sam'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7358779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Cremo | Bj's And Sam'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352677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Walmart | P12M</a:t>
            </a:r>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extLst>
              <p:ext uri="{D42A27DB-BD31-4B8C-83A1-F6EECF244321}">
                <p14:modId xmlns:p14="http://schemas.microsoft.com/office/powerpoint/2010/main" val="31880362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extLst>
              <p:ext uri="{D42A27DB-BD31-4B8C-83A1-F6EECF244321}">
                <p14:modId xmlns:p14="http://schemas.microsoft.com/office/powerpoint/2010/main" val="1075410989"/>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defRPr sz="1100">
                          <a:latin typeface="Nexa Book"/>
                        </a:defRPr>
                      </a:pPr>
                      <a:r>
                        <a:rPr b="1">
                          <a:solidFill>
                            <a:srgbClr val="575555"/>
                          </a:solidFill>
                        </a:rPr>
                        <a:t>System</a:t>
                      </a:r>
                    </a:p>
                  </a:txBody>
                  <a:tcPr anchor="ctr">
                    <a:solidFill>
                      <a:schemeClr val="bg2"/>
                    </a:solidFill>
                  </a:tcPr>
                </a:tc>
                <a:tc>
                  <a:txBody>
                    <a:bodyPr/>
                    <a:lstStyle/>
                    <a:p>
                      <a:pPr algn="ctr">
                        <a:defRPr sz="1100">
                          <a:latin typeface="Nexa Book"/>
                        </a:defRPr>
                      </a:pPr>
                      <a:r>
                        <a:rPr b="1">
                          <a:solidFill>
                            <a:srgbClr val="575555"/>
                          </a:solidFill>
                        </a:rPr>
                        <a:t>Disposable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76059500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Schick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8268056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Equat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8038523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Cremo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9025695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Schick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3369944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Equat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5212464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Cremo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9097305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Schick | Bj's And Sam'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647426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Cremo | Bj's And Sam'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9107072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Schick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2716418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Equat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917206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ATIONAL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152766671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2125454098"/>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1367835858"/>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Disposables</a:t>
                      </a:r>
                    </a:p>
                  </a:txBody>
                  <a:tcPr anchor="ctr">
                    <a:solidFill>
                      <a:schemeClr val="bg2"/>
                    </a:solidFill>
                  </a:tcPr>
                </a:tc>
                <a:tc>
                  <a:txBody>
                    <a:bodyPr/>
                    <a:lstStyle/>
                    <a:p>
                      <a:pPr algn="ctr">
                        <a:defRPr sz="1100">
                          <a:latin typeface="Nexa Book"/>
                        </a:defRPr>
                      </a:pPr>
                      <a:r>
                        <a:rPr b="1">
                          <a:solidFill>
                            <a:srgbClr val="575555"/>
                          </a:solidFill>
                        </a:rPr>
                        <a:t>Razors</a:t>
                      </a:r>
                    </a:p>
                  </a:txBody>
                  <a:tcPr anchor="ctr">
                    <a:solidFill>
                      <a:schemeClr val="bg2"/>
                    </a:solidFill>
                  </a:tcPr>
                </a:tc>
                <a:tc>
                  <a:txBody>
                    <a:bodyPr/>
                    <a:lstStyle/>
                    <a:p>
                      <a:pPr algn="ctr">
                        <a:defRPr sz="1100">
                          <a:latin typeface="Nexa Book"/>
                        </a:defRPr>
                      </a:pPr>
                      <a:r>
                        <a:rPr b="1">
                          <a:solidFill>
                            <a:srgbClr val="575555"/>
                          </a:solidFill>
                        </a:rPr>
                        <a:t>Refill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16034983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Cremo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1479527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Schick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3547621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Equat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9857791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Cremo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7404223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Schick | Bj's And Sam'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0095154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Cremo | Bj's And Sam'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4057600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Schick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2513735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Equat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2583549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Cremo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919105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Bj's And Sam's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73384679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782917635"/>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173874603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Disposables</a:t>
                      </a:r>
                    </a:p>
                  </a:txBody>
                  <a:tcPr anchor="ctr">
                    <a:solidFill>
                      <a:schemeClr val="bg2"/>
                    </a:solidFill>
                  </a:tcPr>
                </a:tc>
                <a:tc>
                  <a:txBody>
                    <a:bodyPr/>
                    <a:lstStyle/>
                    <a:p>
                      <a:pPr algn="ctr">
                        <a:defRPr sz="1100">
                          <a:latin typeface="Nexa Book"/>
                        </a:defRPr>
                      </a:pPr>
                      <a:r>
                        <a:rPr b="1">
                          <a:solidFill>
                            <a:srgbClr val="575555"/>
                          </a:solidFill>
                        </a:rPr>
                        <a:t>Razors</a:t>
                      </a:r>
                    </a:p>
                  </a:txBody>
                  <a:tcPr anchor="ctr">
                    <a:solidFill>
                      <a:schemeClr val="bg2"/>
                    </a:solidFill>
                  </a:tcPr>
                </a:tc>
                <a:tc>
                  <a:txBody>
                    <a:bodyPr/>
                    <a:lstStyle/>
                    <a:p>
                      <a:pPr algn="ctr">
                        <a:defRPr sz="1100">
                          <a:latin typeface="Nexa Book"/>
                        </a:defRPr>
                      </a:pPr>
                      <a:r>
                        <a:rPr b="1">
                          <a:solidFill>
                            <a:srgbClr val="575555"/>
                          </a:solidFill>
                        </a:rPr>
                        <a:t>Refill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1234358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Walmart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44851363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38345084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1189736929"/>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Disposables</a:t>
                      </a:r>
                    </a:p>
                  </a:txBody>
                  <a:tcPr anchor="ctr">
                    <a:solidFill>
                      <a:schemeClr val="bg2"/>
                    </a:solidFill>
                  </a:tcPr>
                </a:tc>
                <a:tc>
                  <a:txBody>
                    <a:bodyPr/>
                    <a:lstStyle/>
                    <a:p>
                      <a:pPr algn="ctr">
                        <a:defRPr sz="1100">
                          <a:latin typeface="Nexa Book"/>
                        </a:defRPr>
                      </a:pPr>
                      <a:r>
                        <a:rPr b="1">
                          <a:solidFill>
                            <a:srgbClr val="575555"/>
                          </a:solidFill>
                        </a:rPr>
                        <a:t>Razors</a:t>
                      </a:r>
                    </a:p>
                  </a:txBody>
                  <a:tcPr anchor="ctr">
                    <a:solidFill>
                      <a:schemeClr val="bg2"/>
                    </a:solidFill>
                  </a:tcPr>
                </a:tc>
                <a:tc>
                  <a:txBody>
                    <a:bodyPr/>
                    <a:lstStyle/>
                    <a:p>
                      <a:pPr algn="ctr">
                        <a:defRPr sz="1100">
                          <a:latin typeface="Nexa Book"/>
                        </a:defRPr>
                      </a:pPr>
                      <a:r>
                        <a:rPr b="1">
                          <a:solidFill>
                            <a:srgbClr val="575555"/>
                          </a:solidFill>
                        </a:rPr>
                        <a:t>Refill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44043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43</TotalTime>
  <Words>7288</Words>
  <Application>Microsoft Office PowerPoint</Application>
  <PresentationFormat>On-screen Show (16:9)</PresentationFormat>
  <Paragraphs>2056</Paragraphs>
  <Slides>78</Slides>
  <Notes>39</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78</vt:i4>
      </vt:variant>
    </vt:vector>
  </HeadingPairs>
  <TitlesOfParts>
    <vt:vector size="88"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4</cp:revision>
  <dcterms:created xsi:type="dcterms:W3CDTF">2024-07-05T14:56:51Z</dcterms:created>
  <dcterms:modified xsi:type="dcterms:W3CDTF">2025-08-11T08:06: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